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drawings/drawing1.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slides/slide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9.xml" ContentType="application/vnd.openxmlformats-officedocument.presentationml.slide+xml"/>
  <Override PartName="/ppt/slides/slide14.xml" ContentType="application/vnd.openxmlformats-officedocument.presentationml.slide+xml"/>
  <Override PartName="/ppt/slides/slide3.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3.xml" ContentType="application/vnd.openxmlformats-officedocument.presentationml.notesSlide+xml"/>
  <Override PartName="/ppt/slideMasters/slideMaster4.xml" ContentType="application/vnd.openxmlformats-officedocument.presentationml.slideMaster+xml"/>
  <Override PartName="/ppt/slideLayouts/slideLayout1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10.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3.xml" ContentType="application/vnd.openxmlformats-officedocument.presentationml.slideLayout+xml"/>
  <Override PartName="/ppt/slideLayouts/slideLayout27.xml" ContentType="application/vnd.openxmlformats-officedocument.presentationml.slideLayout+xml"/>
  <Override PartName="/ppt/slideLayouts/slideLayout29.xml" ContentType="application/vnd.openxmlformats-officedocument.presentationml.slideLayout+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2.xml" ContentType="application/vnd.openxmlformats-officedocument.presentationml.slideLayout+xml"/>
  <Override PartName="/ppt/slideLayouts/slideLayout28.xml" ContentType="application/vnd.openxmlformats-officedocument.presentationml.slideLayout+xml"/>
  <Override PartName="/ppt/slideLayouts/slideLayout32.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0.xml" ContentType="application/vnd.openxmlformats-officedocument.presentationml.slideLayout+xml"/>
  <Override PartName="/ppt/slideLayouts/slideLayout3.xml" ContentType="application/vnd.openxmlformats-officedocument.presentationml.slideLayout+xml"/>
  <Override PartName="/ppt/slideLayouts/slideLayout31.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6.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Masters/notesMaster1.xml" ContentType="application/vnd.openxmlformats-officedocument.presentationml.notesMaster+xml"/>
  <Override PartName="/ppt/theme/theme1.xml" ContentType="application/vnd.openxmlformats-officedocument.theme+xml"/>
  <Override PartName="/ppt/charts/chart4.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theme/theme3.xml" ContentType="application/vnd.openxmlformats-officedocument.theme+xml"/>
  <Override PartName="/ppt/theme/theme4.xml" ContentType="application/vnd.openxmlformats-officedocument.theme+xml"/>
  <Override PartName="/ppt/charts/chart6.xml" ContentType="application/vnd.openxmlformats-officedocument.drawingml.chart+xml"/>
  <Override PartName="/ppt/charts/chart5.xml" ContentType="application/vnd.openxmlformats-officedocument.drawingml.chart+xml"/>
  <Override PartName="/ppt/charts/chart8.xml" ContentType="application/vnd.openxmlformats-officedocument.drawingml.chart+xml"/>
  <Override PartName="/ppt/charts/chart16.xml" ContentType="application/vnd.openxmlformats-officedocument.drawingml.chart+xml"/>
  <Override PartName="/ppt/charts/chart7.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5.xml" ContentType="application/vnd.openxmlformats-officedocument.drawingml.chart+xml"/>
  <Override PartName="/ppt/charts/chart12.xml" ContentType="application/vnd.openxmlformats-officedocument.drawingml.chart+xml"/>
  <Override PartName="/ppt/charts/chart11.xml" ContentType="application/vnd.openxmlformats-officedocument.drawingml.chart+xml"/>
  <Override PartName="/ppt/charts/chart10.xml" ContentType="application/vnd.openxmlformats-officedocument.drawingml.chart+xml"/>
  <Override PartName="/ppt/charts/chart9.xml" ContentType="application/vnd.openxmlformats-officedocument.drawingml.chart+xml"/>
  <Override PartName="/ppt/charts/chart14.xml" ContentType="application/vnd.openxmlformats-officedocument.drawingml.chart+xml"/>
  <Override PartName="/ppt/charts/chart13.xml" ContentType="application/vnd.openxmlformats-officedocument.drawingml.chart+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app.xml" ContentType="application/vnd.openxmlformats-officedocument.extended-properties+xml"/>
  <Override PartName="/docProps/custom.xml" ContentType="application/vnd.openxmlformats-officedocument.custom-properties+xml"/>
  <Override PartName="/docProps/core.xml" ContentType="application/vnd.openxmlformats-package.core-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5269" r:id="rId2"/>
    <p:sldMasterId id="2147493730" r:id="rId3"/>
    <p:sldMasterId id="2147493748" r:id="rId4"/>
  </p:sldMasterIdLst>
  <p:notesMasterIdLst>
    <p:notesMasterId r:id="rId24"/>
  </p:notesMasterIdLst>
  <p:handoutMasterIdLst>
    <p:handoutMasterId r:id="rId25"/>
  </p:handoutMasterIdLst>
  <p:sldIdLst>
    <p:sldId id="536" r:id="rId5"/>
    <p:sldId id="2688" r:id="rId6"/>
    <p:sldId id="2690" r:id="rId7"/>
    <p:sldId id="2650" r:id="rId8"/>
    <p:sldId id="2693" r:id="rId9"/>
    <p:sldId id="2679" r:id="rId10"/>
    <p:sldId id="2694" r:id="rId11"/>
    <p:sldId id="2695" r:id="rId12"/>
    <p:sldId id="2696" r:id="rId13"/>
    <p:sldId id="2697" r:id="rId14"/>
    <p:sldId id="2698" r:id="rId15"/>
    <p:sldId id="2699" r:id="rId16"/>
    <p:sldId id="2701" r:id="rId17"/>
    <p:sldId id="2702" r:id="rId18"/>
    <p:sldId id="2703" r:id="rId19"/>
    <p:sldId id="2704" r:id="rId20"/>
    <p:sldId id="2705" r:id="rId21"/>
    <p:sldId id="2706" r:id="rId22"/>
    <p:sldId id="2678" r:id="rId23"/>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6471" algn="l" rtl="0" fontAlgn="base">
      <a:spcBef>
        <a:spcPct val="0"/>
      </a:spcBef>
      <a:spcAft>
        <a:spcPct val="0"/>
      </a:spcAft>
      <a:defRPr kern="1200">
        <a:solidFill>
          <a:schemeClr val="tx1"/>
        </a:solidFill>
        <a:latin typeface="Arial" charset="0"/>
        <a:ea typeface="+mn-ea"/>
        <a:cs typeface="Arial" charset="0"/>
      </a:defRPr>
    </a:lvl2pPr>
    <a:lvl3pPr marL="912937" algn="l" rtl="0" fontAlgn="base">
      <a:spcBef>
        <a:spcPct val="0"/>
      </a:spcBef>
      <a:spcAft>
        <a:spcPct val="0"/>
      </a:spcAft>
      <a:defRPr kern="1200">
        <a:solidFill>
          <a:schemeClr val="tx1"/>
        </a:solidFill>
        <a:latin typeface="Arial" charset="0"/>
        <a:ea typeface="+mn-ea"/>
        <a:cs typeface="Arial" charset="0"/>
      </a:defRPr>
    </a:lvl3pPr>
    <a:lvl4pPr marL="1369410" algn="l" rtl="0" fontAlgn="base">
      <a:spcBef>
        <a:spcPct val="0"/>
      </a:spcBef>
      <a:spcAft>
        <a:spcPct val="0"/>
      </a:spcAft>
      <a:defRPr kern="1200">
        <a:solidFill>
          <a:schemeClr val="tx1"/>
        </a:solidFill>
        <a:latin typeface="Arial" charset="0"/>
        <a:ea typeface="+mn-ea"/>
        <a:cs typeface="Arial" charset="0"/>
      </a:defRPr>
    </a:lvl4pPr>
    <a:lvl5pPr marL="1825875" algn="l" rtl="0" fontAlgn="base">
      <a:spcBef>
        <a:spcPct val="0"/>
      </a:spcBef>
      <a:spcAft>
        <a:spcPct val="0"/>
      </a:spcAft>
      <a:defRPr kern="1200">
        <a:solidFill>
          <a:schemeClr val="tx1"/>
        </a:solidFill>
        <a:latin typeface="Arial" charset="0"/>
        <a:ea typeface="+mn-ea"/>
        <a:cs typeface="Arial" charset="0"/>
      </a:defRPr>
    </a:lvl5pPr>
    <a:lvl6pPr marL="2282345" algn="l" defTabSz="912937" rtl="0" eaLnBrk="1" latinLnBrk="0" hangingPunct="1">
      <a:defRPr kern="1200">
        <a:solidFill>
          <a:schemeClr val="tx1"/>
        </a:solidFill>
        <a:latin typeface="Arial" charset="0"/>
        <a:ea typeface="+mn-ea"/>
        <a:cs typeface="Arial" charset="0"/>
      </a:defRPr>
    </a:lvl6pPr>
    <a:lvl7pPr marL="2738813" algn="l" defTabSz="912937" rtl="0" eaLnBrk="1" latinLnBrk="0" hangingPunct="1">
      <a:defRPr kern="1200">
        <a:solidFill>
          <a:schemeClr val="tx1"/>
        </a:solidFill>
        <a:latin typeface="Arial" charset="0"/>
        <a:ea typeface="+mn-ea"/>
        <a:cs typeface="Arial" charset="0"/>
      </a:defRPr>
    </a:lvl7pPr>
    <a:lvl8pPr marL="3195285" algn="l" defTabSz="912937" rtl="0" eaLnBrk="1" latinLnBrk="0" hangingPunct="1">
      <a:defRPr kern="1200">
        <a:solidFill>
          <a:schemeClr val="tx1"/>
        </a:solidFill>
        <a:latin typeface="Arial" charset="0"/>
        <a:ea typeface="+mn-ea"/>
        <a:cs typeface="Arial" charset="0"/>
      </a:defRPr>
    </a:lvl8pPr>
    <a:lvl9pPr marL="3651750" algn="l" defTabSz="912937"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FB300"/>
    <a:srgbClr val="A0FE22"/>
    <a:srgbClr val="FFAB2F"/>
    <a:srgbClr val="FFFF66"/>
    <a:srgbClr val="FFE2A7"/>
    <a:srgbClr val="FF6969"/>
    <a:srgbClr val="FCB6D9"/>
    <a:srgbClr val="FCA6D1"/>
    <a:srgbClr val="FFD4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47" autoAdjust="0"/>
    <p:restoredTop sz="94249" autoAdjust="0"/>
  </p:normalViewPr>
  <p:slideViewPr>
    <p:cSldViewPr>
      <p:cViewPr varScale="1">
        <p:scale>
          <a:sx n="130" d="100"/>
          <a:sy n="130" d="100"/>
        </p:scale>
        <p:origin x="288" y="12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customXml" Target="../customXml/item3.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D:\Reports\Drive%20Test\H1%202015\TEMPLATE_september%202015.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B00732790\AppData\Local\Microsoft\Windows\Temporary%20Internet%20Files\Content.Outlook\R1N5WOEJ\NETWORK%20AVAILABILITY.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D:\Reports\Drive%20Test\H2%202015\TEMPLATE_september%20201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effectLst/>
              </a:rPr>
              <a:t>IHS-MTN Network Availability</a:t>
            </a:r>
            <a:endParaRPr lang="en-GB">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Network-Day'!$C$1</c:f>
              <c:strCache>
                <c:ptCount val="1"/>
                <c:pt idx="0">
                  <c:v>Availability</c:v>
                </c:pt>
              </c:strCache>
            </c:strRef>
          </c:tx>
          <c:spPr>
            <a:ln w="28575" cap="rnd">
              <a:solidFill>
                <a:schemeClr val="accent3">
                  <a:lumMod val="60000"/>
                  <a:lumOff val="40000"/>
                </a:schemeClr>
              </a:solidFill>
              <a:round/>
            </a:ln>
            <a:effectLst/>
          </c:spPr>
          <c:marker>
            <c:symbol val="none"/>
          </c:marker>
          <c:cat>
            <c:numRef>
              <c:f>'Network-Day'!$B$2:$B$705</c:f>
              <c:numCache>
                <c:formatCode>m/d/yyyy</c:formatCode>
                <c:ptCount val="704"/>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4</c:v>
                </c:pt>
                <c:pt idx="323">
                  <c:v>41965</c:v>
                </c:pt>
                <c:pt idx="324">
                  <c:v>41966</c:v>
                </c:pt>
                <c:pt idx="325">
                  <c:v>41967</c:v>
                </c:pt>
                <c:pt idx="326">
                  <c:v>41968</c:v>
                </c:pt>
                <c:pt idx="327">
                  <c:v>41969</c:v>
                </c:pt>
                <c:pt idx="328">
                  <c:v>41970</c:v>
                </c:pt>
                <c:pt idx="329">
                  <c:v>41971</c:v>
                </c:pt>
                <c:pt idx="330">
                  <c:v>41972</c:v>
                </c:pt>
                <c:pt idx="331">
                  <c:v>41973</c:v>
                </c:pt>
                <c:pt idx="332">
                  <c:v>41974</c:v>
                </c:pt>
                <c:pt idx="333">
                  <c:v>41975</c:v>
                </c:pt>
                <c:pt idx="334">
                  <c:v>41976</c:v>
                </c:pt>
                <c:pt idx="335">
                  <c:v>41977</c:v>
                </c:pt>
                <c:pt idx="336">
                  <c:v>41978</c:v>
                </c:pt>
                <c:pt idx="337">
                  <c:v>41979</c:v>
                </c:pt>
                <c:pt idx="338">
                  <c:v>41980</c:v>
                </c:pt>
                <c:pt idx="339">
                  <c:v>41981</c:v>
                </c:pt>
                <c:pt idx="340">
                  <c:v>41982</c:v>
                </c:pt>
                <c:pt idx="341">
                  <c:v>41983</c:v>
                </c:pt>
                <c:pt idx="342">
                  <c:v>41984</c:v>
                </c:pt>
                <c:pt idx="343">
                  <c:v>41985</c:v>
                </c:pt>
                <c:pt idx="344">
                  <c:v>41986</c:v>
                </c:pt>
                <c:pt idx="345">
                  <c:v>41987</c:v>
                </c:pt>
                <c:pt idx="346">
                  <c:v>41988</c:v>
                </c:pt>
                <c:pt idx="347">
                  <c:v>41989</c:v>
                </c:pt>
                <c:pt idx="348">
                  <c:v>41990</c:v>
                </c:pt>
                <c:pt idx="349">
                  <c:v>41991</c:v>
                </c:pt>
                <c:pt idx="350">
                  <c:v>41994</c:v>
                </c:pt>
                <c:pt idx="351">
                  <c:v>41995</c:v>
                </c:pt>
                <c:pt idx="352">
                  <c:v>41996</c:v>
                </c:pt>
                <c:pt idx="353">
                  <c:v>41997</c:v>
                </c:pt>
                <c:pt idx="354">
                  <c:v>41998</c:v>
                </c:pt>
                <c:pt idx="355">
                  <c:v>41999</c:v>
                </c:pt>
                <c:pt idx="356">
                  <c:v>42000</c:v>
                </c:pt>
                <c:pt idx="357">
                  <c:v>42001</c:v>
                </c:pt>
                <c:pt idx="358">
                  <c:v>42002</c:v>
                </c:pt>
                <c:pt idx="359">
                  <c:v>42003</c:v>
                </c:pt>
                <c:pt idx="360">
                  <c:v>42004</c:v>
                </c:pt>
                <c:pt idx="361">
                  <c:v>42005</c:v>
                </c:pt>
                <c:pt idx="362">
                  <c:v>42006</c:v>
                </c:pt>
                <c:pt idx="363">
                  <c:v>42007</c:v>
                </c:pt>
                <c:pt idx="364">
                  <c:v>42008</c:v>
                </c:pt>
                <c:pt idx="365">
                  <c:v>42009</c:v>
                </c:pt>
                <c:pt idx="366">
                  <c:v>42010</c:v>
                </c:pt>
                <c:pt idx="367">
                  <c:v>42011</c:v>
                </c:pt>
                <c:pt idx="368">
                  <c:v>42012</c:v>
                </c:pt>
                <c:pt idx="369">
                  <c:v>42013</c:v>
                </c:pt>
                <c:pt idx="370">
                  <c:v>42014</c:v>
                </c:pt>
                <c:pt idx="371">
                  <c:v>42015</c:v>
                </c:pt>
                <c:pt idx="372">
                  <c:v>42016</c:v>
                </c:pt>
                <c:pt idx="373">
                  <c:v>42017</c:v>
                </c:pt>
                <c:pt idx="374">
                  <c:v>42018</c:v>
                </c:pt>
                <c:pt idx="375">
                  <c:v>42019</c:v>
                </c:pt>
                <c:pt idx="376">
                  <c:v>42020</c:v>
                </c:pt>
                <c:pt idx="377">
                  <c:v>42021</c:v>
                </c:pt>
                <c:pt idx="378">
                  <c:v>42022</c:v>
                </c:pt>
                <c:pt idx="379">
                  <c:v>42025</c:v>
                </c:pt>
                <c:pt idx="380">
                  <c:v>42026</c:v>
                </c:pt>
                <c:pt idx="381">
                  <c:v>42027</c:v>
                </c:pt>
                <c:pt idx="382">
                  <c:v>42028</c:v>
                </c:pt>
                <c:pt idx="383">
                  <c:v>42029</c:v>
                </c:pt>
                <c:pt idx="384">
                  <c:v>42030</c:v>
                </c:pt>
                <c:pt idx="385">
                  <c:v>42031</c:v>
                </c:pt>
                <c:pt idx="386">
                  <c:v>42032</c:v>
                </c:pt>
                <c:pt idx="387">
                  <c:v>42033</c:v>
                </c:pt>
                <c:pt idx="388">
                  <c:v>42034</c:v>
                </c:pt>
                <c:pt idx="389">
                  <c:v>42035</c:v>
                </c:pt>
                <c:pt idx="390">
                  <c:v>42036</c:v>
                </c:pt>
                <c:pt idx="391">
                  <c:v>42037</c:v>
                </c:pt>
                <c:pt idx="392">
                  <c:v>42038</c:v>
                </c:pt>
                <c:pt idx="393">
                  <c:v>42039</c:v>
                </c:pt>
                <c:pt idx="394">
                  <c:v>42040</c:v>
                </c:pt>
                <c:pt idx="395">
                  <c:v>42041</c:v>
                </c:pt>
                <c:pt idx="396">
                  <c:v>42042</c:v>
                </c:pt>
                <c:pt idx="397">
                  <c:v>42043</c:v>
                </c:pt>
                <c:pt idx="398">
                  <c:v>42044</c:v>
                </c:pt>
                <c:pt idx="399">
                  <c:v>42045</c:v>
                </c:pt>
                <c:pt idx="400">
                  <c:v>42046</c:v>
                </c:pt>
                <c:pt idx="401">
                  <c:v>42047</c:v>
                </c:pt>
                <c:pt idx="402">
                  <c:v>42048</c:v>
                </c:pt>
                <c:pt idx="403">
                  <c:v>42049</c:v>
                </c:pt>
                <c:pt idx="404">
                  <c:v>42050</c:v>
                </c:pt>
                <c:pt idx="405">
                  <c:v>42051</c:v>
                </c:pt>
                <c:pt idx="406">
                  <c:v>42052</c:v>
                </c:pt>
                <c:pt idx="407">
                  <c:v>42053</c:v>
                </c:pt>
                <c:pt idx="408">
                  <c:v>42056</c:v>
                </c:pt>
                <c:pt idx="409">
                  <c:v>42057</c:v>
                </c:pt>
                <c:pt idx="410">
                  <c:v>42058</c:v>
                </c:pt>
                <c:pt idx="411">
                  <c:v>42059</c:v>
                </c:pt>
                <c:pt idx="412">
                  <c:v>42060</c:v>
                </c:pt>
                <c:pt idx="413">
                  <c:v>42061</c:v>
                </c:pt>
                <c:pt idx="414">
                  <c:v>42062</c:v>
                </c:pt>
                <c:pt idx="415">
                  <c:v>42063</c:v>
                </c:pt>
                <c:pt idx="416">
                  <c:v>42064</c:v>
                </c:pt>
                <c:pt idx="417">
                  <c:v>42065</c:v>
                </c:pt>
                <c:pt idx="418">
                  <c:v>42066</c:v>
                </c:pt>
                <c:pt idx="419">
                  <c:v>42067</c:v>
                </c:pt>
                <c:pt idx="420">
                  <c:v>42068</c:v>
                </c:pt>
                <c:pt idx="421">
                  <c:v>42069</c:v>
                </c:pt>
                <c:pt idx="422">
                  <c:v>42070</c:v>
                </c:pt>
                <c:pt idx="423">
                  <c:v>42071</c:v>
                </c:pt>
                <c:pt idx="424">
                  <c:v>42072</c:v>
                </c:pt>
                <c:pt idx="425">
                  <c:v>42073</c:v>
                </c:pt>
                <c:pt idx="426">
                  <c:v>42074</c:v>
                </c:pt>
                <c:pt idx="427">
                  <c:v>42075</c:v>
                </c:pt>
                <c:pt idx="428">
                  <c:v>42076</c:v>
                </c:pt>
                <c:pt idx="429">
                  <c:v>42077</c:v>
                </c:pt>
                <c:pt idx="430">
                  <c:v>42078</c:v>
                </c:pt>
                <c:pt idx="431">
                  <c:v>42079</c:v>
                </c:pt>
                <c:pt idx="432">
                  <c:v>42080</c:v>
                </c:pt>
                <c:pt idx="433">
                  <c:v>42081</c:v>
                </c:pt>
                <c:pt idx="434">
                  <c:v>42084</c:v>
                </c:pt>
                <c:pt idx="435">
                  <c:v>42085</c:v>
                </c:pt>
                <c:pt idx="436">
                  <c:v>42086</c:v>
                </c:pt>
                <c:pt idx="437">
                  <c:v>42087</c:v>
                </c:pt>
                <c:pt idx="438">
                  <c:v>42088</c:v>
                </c:pt>
                <c:pt idx="439">
                  <c:v>42089</c:v>
                </c:pt>
                <c:pt idx="440">
                  <c:v>42090</c:v>
                </c:pt>
                <c:pt idx="441">
                  <c:v>42091</c:v>
                </c:pt>
                <c:pt idx="442">
                  <c:v>42092</c:v>
                </c:pt>
                <c:pt idx="443">
                  <c:v>42093</c:v>
                </c:pt>
                <c:pt idx="444">
                  <c:v>42094</c:v>
                </c:pt>
                <c:pt idx="445">
                  <c:v>42095</c:v>
                </c:pt>
                <c:pt idx="446">
                  <c:v>42096</c:v>
                </c:pt>
                <c:pt idx="447">
                  <c:v>42097</c:v>
                </c:pt>
                <c:pt idx="448">
                  <c:v>42098</c:v>
                </c:pt>
                <c:pt idx="449">
                  <c:v>42099</c:v>
                </c:pt>
                <c:pt idx="450">
                  <c:v>42100</c:v>
                </c:pt>
                <c:pt idx="451">
                  <c:v>42101</c:v>
                </c:pt>
                <c:pt idx="452">
                  <c:v>42102</c:v>
                </c:pt>
                <c:pt idx="453">
                  <c:v>42103</c:v>
                </c:pt>
                <c:pt idx="454">
                  <c:v>42104</c:v>
                </c:pt>
                <c:pt idx="455">
                  <c:v>42105</c:v>
                </c:pt>
                <c:pt idx="456">
                  <c:v>42106</c:v>
                </c:pt>
                <c:pt idx="457">
                  <c:v>42107</c:v>
                </c:pt>
                <c:pt idx="458">
                  <c:v>42108</c:v>
                </c:pt>
                <c:pt idx="459">
                  <c:v>42109</c:v>
                </c:pt>
                <c:pt idx="460">
                  <c:v>42110</c:v>
                </c:pt>
                <c:pt idx="461">
                  <c:v>42111</c:v>
                </c:pt>
                <c:pt idx="462">
                  <c:v>42112</c:v>
                </c:pt>
                <c:pt idx="463">
                  <c:v>42113</c:v>
                </c:pt>
                <c:pt idx="464">
                  <c:v>42114</c:v>
                </c:pt>
                <c:pt idx="465">
                  <c:v>42115</c:v>
                </c:pt>
                <c:pt idx="466">
                  <c:v>42116</c:v>
                </c:pt>
                <c:pt idx="467">
                  <c:v>42117</c:v>
                </c:pt>
                <c:pt idx="468">
                  <c:v>42118</c:v>
                </c:pt>
                <c:pt idx="469">
                  <c:v>42119</c:v>
                </c:pt>
                <c:pt idx="470">
                  <c:v>42120</c:v>
                </c:pt>
                <c:pt idx="471">
                  <c:v>42121</c:v>
                </c:pt>
                <c:pt idx="472">
                  <c:v>42122</c:v>
                </c:pt>
                <c:pt idx="473">
                  <c:v>42123</c:v>
                </c:pt>
                <c:pt idx="474">
                  <c:v>42124</c:v>
                </c:pt>
                <c:pt idx="475">
                  <c:v>42125</c:v>
                </c:pt>
                <c:pt idx="476">
                  <c:v>42126</c:v>
                </c:pt>
                <c:pt idx="477">
                  <c:v>42127</c:v>
                </c:pt>
                <c:pt idx="478">
                  <c:v>42128</c:v>
                </c:pt>
                <c:pt idx="479">
                  <c:v>42129</c:v>
                </c:pt>
                <c:pt idx="480">
                  <c:v>42130</c:v>
                </c:pt>
                <c:pt idx="481">
                  <c:v>42131</c:v>
                </c:pt>
                <c:pt idx="482">
                  <c:v>42132</c:v>
                </c:pt>
                <c:pt idx="483">
                  <c:v>42133</c:v>
                </c:pt>
                <c:pt idx="484">
                  <c:v>42134</c:v>
                </c:pt>
                <c:pt idx="485">
                  <c:v>42135</c:v>
                </c:pt>
                <c:pt idx="486">
                  <c:v>42136</c:v>
                </c:pt>
                <c:pt idx="487">
                  <c:v>42137</c:v>
                </c:pt>
                <c:pt idx="488">
                  <c:v>42138</c:v>
                </c:pt>
                <c:pt idx="489">
                  <c:v>42139</c:v>
                </c:pt>
                <c:pt idx="490">
                  <c:v>42140</c:v>
                </c:pt>
                <c:pt idx="491">
                  <c:v>42141</c:v>
                </c:pt>
                <c:pt idx="492">
                  <c:v>42142</c:v>
                </c:pt>
                <c:pt idx="493">
                  <c:v>42145</c:v>
                </c:pt>
                <c:pt idx="494">
                  <c:v>42146</c:v>
                </c:pt>
                <c:pt idx="495">
                  <c:v>42147</c:v>
                </c:pt>
                <c:pt idx="496">
                  <c:v>42148</c:v>
                </c:pt>
                <c:pt idx="497">
                  <c:v>42149</c:v>
                </c:pt>
                <c:pt idx="498">
                  <c:v>42150</c:v>
                </c:pt>
                <c:pt idx="499">
                  <c:v>42151</c:v>
                </c:pt>
                <c:pt idx="500">
                  <c:v>42152</c:v>
                </c:pt>
                <c:pt idx="501">
                  <c:v>42153</c:v>
                </c:pt>
                <c:pt idx="502">
                  <c:v>42154</c:v>
                </c:pt>
                <c:pt idx="503">
                  <c:v>42155</c:v>
                </c:pt>
                <c:pt idx="504">
                  <c:v>42156</c:v>
                </c:pt>
                <c:pt idx="505">
                  <c:v>42157</c:v>
                </c:pt>
                <c:pt idx="506">
                  <c:v>42158</c:v>
                </c:pt>
                <c:pt idx="507">
                  <c:v>42159</c:v>
                </c:pt>
                <c:pt idx="508">
                  <c:v>42160</c:v>
                </c:pt>
                <c:pt idx="509">
                  <c:v>42161</c:v>
                </c:pt>
                <c:pt idx="510">
                  <c:v>42162</c:v>
                </c:pt>
                <c:pt idx="511">
                  <c:v>42163</c:v>
                </c:pt>
                <c:pt idx="512">
                  <c:v>42164</c:v>
                </c:pt>
                <c:pt idx="513">
                  <c:v>42165</c:v>
                </c:pt>
                <c:pt idx="514">
                  <c:v>42166</c:v>
                </c:pt>
                <c:pt idx="515">
                  <c:v>42167</c:v>
                </c:pt>
                <c:pt idx="516">
                  <c:v>42168</c:v>
                </c:pt>
                <c:pt idx="517">
                  <c:v>42169</c:v>
                </c:pt>
                <c:pt idx="518">
                  <c:v>42170</c:v>
                </c:pt>
                <c:pt idx="519">
                  <c:v>42171</c:v>
                </c:pt>
                <c:pt idx="520">
                  <c:v>42172</c:v>
                </c:pt>
                <c:pt idx="521">
                  <c:v>42173</c:v>
                </c:pt>
                <c:pt idx="522">
                  <c:v>42176</c:v>
                </c:pt>
                <c:pt idx="523">
                  <c:v>42177</c:v>
                </c:pt>
                <c:pt idx="524">
                  <c:v>42178</c:v>
                </c:pt>
                <c:pt idx="525">
                  <c:v>42179</c:v>
                </c:pt>
                <c:pt idx="526">
                  <c:v>42180</c:v>
                </c:pt>
                <c:pt idx="527">
                  <c:v>42181</c:v>
                </c:pt>
                <c:pt idx="528">
                  <c:v>42182</c:v>
                </c:pt>
                <c:pt idx="529">
                  <c:v>42183</c:v>
                </c:pt>
                <c:pt idx="530">
                  <c:v>42184</c:v>
                </c:pt>
                <c:pt idx="531">
                  <c:v>42185</c:v>
                </c:pt>
                <c:pt idx="532">
                  <c:v>42186</c:v>
                </c:pt>
                <c:pt idx="533">
                  <c:v>42187</c:v>
                </c:pt>
                <c:pt idx="534">
                  <c:v>42188</c:v>
                </c:pt>
                <c:pt idx="535">
                  <c:v>42189</c:v>
                </c:pt>
                <c:pt idx="536">
                  <c:v>42190</c:v>
                </c:pt>
                <c:pt idx="537">
                  <c:v>42191</c:v>
                </c:pt>
                <c:pt idx="538">
                  <c:v>42192</c:v>
                </c:pt>
                <c:pt idx="539">
                  <c:v>42193</c:v>
                </c:pt>
                <c:pt idx="540">
                  <c:v>42194</c:v>
                </c:pt>
                <c:pt idx="541">
                  <c:v>42195</c:v>
                </c:pt>
                <c:pt idx="542">
                  <c:v>42196</c:v>
                </c:pt>
                <c:pt idx="543">
                  <c:v>42197</c:v>
                </c:pt>
                <c:pt idx="544">
                  <c:v>42198</c:v>
                </c:pt>
                <c:pt idx="545">
                  <c:v>42199</c:v>
                </c:pt>
                <c:pt idx="546">
                  <c:v>42200</c:v>
                </c:pt>
                <c:pt idx="547">
                  <c:v>42201</c:v>
                </c:pt>
                <c:pt idx="548">
                  <c:v>42202</c:v>
                </c:pt>
                <c:pt idx="549">
                  <c:v>42203</c:v>
                </c:pt>
                <c:pt idx="550">
                  <c:v>42206</c:v>
                </c:pt>
                <c:pt idx="551">
                  <c:v>42207</c:v>
                </c:pt>
                <c:pt idx="552">
                  <c:v>42208</c:v>
                </c:pt>
                <c:pt idx="553">
                  <c:v>42209</c:v>
                </c:pt>
                <c:pt idx="554">
                  <c:v>42210</c:v>
                </c:pt>
                <c:pt idx="555">
                  <c:v>42211</c:v>
                </c:pt>
                <c:pt idx="556">
                  <c:v>42212</c:v>
                </c:pt>
                <c:pt idx="557">
                  <c:v>42213</c:v>
                </c:pt>
                <c:pt idx="558">
                  <c:v>42214</c:v>
                </c:pt>
                <c:pt idx="559">
                  <c:v>42215</c:v>
                </c:pt>
                <c:pt idx="560">
                  <c:v>42216</c:v>
                </c:pt>
                <c:pt idx="561">
                  <c:v>42217</c:v>
                </c:pt>
                <c:pt idx="562">
                  <c:v>42218</c:v>
                </c:pt>
                <c:pt idx="563">
                  <c:v>42219</c:v>
                </c:pt>
                <c:pt idx="564">
                  <c:v>42220</c:v>
                </c:pt>
                <c:pt idx="565">
                  <c:v>42221</c:v>
                </c:pt>
                <c:pt idx="566">
                  <c:v>42222</c:v>
                </c:pt>
                <c:pt idx="567">
                  <c:v>42223</c:v>
                </c:pt>
                <c:pt idx="568">
                  <c:v>42224</c:v>
                </c:pt>
                <c:pt idx="569">
                  <c:v>42225</c:v>
                </c:pt>
                <c:pt idx="570">
                  <c:v>42226</c:v>
                </c:pt>
                <c:pt idx="571">
                  <c:v>42227</c:v>
                </c:pt>
                <c:pt idx="572">
                  <c:v>42228</c:v>
                </c:pt>
                <c:pt idx="573">
                  <c:v>42229</c:v>
                </c:pt>
                <c:pt idx="574">
                  <c:v>42230</c:v>
                </c:pt>
                <c:pt idx="575">
                  <c:v>42231</c:v>
                </c:pt>
                <c:pt idx="576">
                  <c:v>42232</c:v>
                </c:pt>
                <c:pt idx="577">
                  <c:v>42233</c:v>
                </c:pt>
                <c:pt idx="578">
                  <c:v>42234</c:v>
                </c:pt>
                <c:pt idx="579">
                  <c:v>42237</c:v>
                </c:pt>
                <c:pt idx="580">
                  <c:v>42238</c:v>
                </c:pt>
                <c:pt idx="581">
                  <c:v>42239</c:v>
                </c:pt>
                <c:pt idx="582">
                  <c:v>42240</c:v>
                </c:pt>
                <c:pt idx="583">
                  <c:v>42241</c:v>
                </c:pt>
                <c:pt idx="584">
                  <c:v>42242</c:v>
                </c:pt>
                <c:pt idx="585">
                  <c:v>42243</c:v>
                </c:pt>
                <c:pt idx="586">
                  <c:v>42244</c:v>
                </c:pt>
                <c:pt idx="587">
                  <c:v>42245</c:v>
                </c:pt>
                <c:pt idx="588">
                  <c:v>42246</c:v>
                </c:pt>
                <c:pt idx="589">
                  <c:v>42247</c:v>
                </c:pt>
                <c:pt idx="590">
                  <c:v>42248</c:v>
                </c:pt>
                <c:pt idx="591">
                  <c:v>42249</c:v>
                </c:pt>
                <c:pt idx="592">
                  <c:v>42250</c:v>
                </c:pt>
                <c:pt idx="593">
                  <c:v>42251</c:v>
                </c:pt>
                <c:pt idx="594">
                  <c:v>42252</c:v>
                </c:pt>
                <c:pt idx="595">
                  <c:v>42253</c:v>
                </c:pt>
                <c:pt idx="596">
                  <c:v>42254</c:v>
                </c:pt>
                <c:pt idx="597">
                  <c:v>42255</c:v>
                </c:pt>
                <c:pt idx="598">
                  <c:v>42256</c:v>
                </c:pt>
                <c:pt idx="599">
                  <c:v>42257</c:v>
                </c:pt>
                <c:pt idx="600">
                  <c:v>42258</c:v>
                </c:pt>
                <c:pt idx="601">
                  <c:v>42259</c:v>
                </c:pt>
                <c:pt idx="602">
                  <c:v>42260</c:v>
                </c:pt>
                <c:pt idx="603">
                  <c:v>42261</c:v>
                </c:pt>
                <c:pt idx="604">
                  <c:v>42262</c:v>
                </c:pt>
                <c:pt idx="605">
                  <c:v>42263</c:v>
                </c:pt>
                <c:pt idx="606">
                  <c:v>42264</c:v>
                </c:pt>
                <c:pt idx="607">
                  <c:v>42265</c:v>
                </c:pt>
                <c:pt idx="608">
                  <c:v>42268</c:v>
                </c:pt>
                <c:pt idx="609">
                  <c:v>42269</c:v>
                </c:pt>
                <c:pt idx="610">
                  <c:v>42270</c:v>
                </c:pt>
                <c:pt idx="611">
                  <c:v>42271</c:v>
                </c:pt>
                <c:pt idx="612">
                  <c:v>42272</c:v>
                </c:pt>
                <c:pt idx="613">
                  <c:v>42273</c:v>
                </c:pt>
                <c:pt idx="614">
                  <c:v>42274</c:v>
                </c:pt>
                <c:pt idx="615">
                  <c:v>42275</c:v>
                </c:pt>
                <c:pt idx="616">
                  <c:v>42276</c:v>
                </c:pt>
                <c:pt idx="617">
                  <c:v>42277</c:v>
                </c:pt>
                <c:pt idx="618">
                  <c:v>42278</c:v>
                </c:pt>
                <c:pt idx="619">
                  <c:v>42279</c:v>
                </c:pt>
                <c:pt idx="620">
                  <c:v>42280</c:v>
                </c:pt>
                <c:pt idx="621">
                  <c:v>42281</c:v>
                </c:pt>
                <c:pt idx="622">
                  <c:v>42282</c:v>
                </c:pt>
                <c:pt idx="623">
                  <c:v>42283</c:v>
                </c:pt>
                <c:pt idx="624">
                  <c:v>42284</c:v>
                </c:pt>
                <c:pt idx="625">
                  <c:v>42285</c:v>
                </c:pt>
                <c:pt idx="626">
                  <c:v>42286</c:v>
                </c:pt>
                <c:pt idx="627">
                  <c:v>42287</c:v>
                </c:pt>
                <c:pt idx="628">
                  <c:v>42288</c:v>
                </c:pt>
                <c:pt idx="629">
                  <c:v>42289</c:v>
                </c:pt>
                <c:pt idx="630">
                  <c:v>42290</c:v>
                </c:pt>
                <c:pt idx="631">
                  <c:v>42291</c:v>
                </c:pt>
                <c:pt idx="632">
                  <c:v>42292</c:v>
                </c:pt>
                <c:pt idx="633">
                  <c:v>42293</c:v>
                </c:pt>
                <c:pt idx="634">
                  <c:v>42294</c:v>
                </c:pt>
                <c:pt idx="635">
                  <c:v>42295</c:v>
                </c:pt>
                <c:pt idx="636">
                  <c:v>42298</c:v>
                </c:pt>
                <c:pt idx="637">
                  <c:v>42299</c:v>
                </c:pt>
                <c:pt idx="638">
                  <c:v>42300</c:v>
                </c:pt>
                <c:pt idx="639">
                  <c:v>42301</c:v>
                </c:pt>
                <c:pt idx="640">
                  <c:v>42302</c:v>
                </c:pt>
                <c:pt idx="641">
                  <c:v>42303</c:v>
                </c:pt>
                <c:pt idx="642">
                  <c:v>42304</c:v>
                </c:pt>
                <c:pt idx="643">
                  <c:v>42305</c:v>
                </c:pt>
                <c:pt idx="644">
                  <c:v>42306</c:v>
                </c:pt>
                <c:pt idx="645">
                  <c:v>42307</c:v>
                </c:pt>
                <c:pt idx="646">
                  <c:v>42308</c:v>
                </c:pt>
                <c:pt idx="647">
                  <c:v>42309</c:v>
                </c:pt>
                <c:pt idx="648">
                  <c:v>42310</c:v>
                </c:pt>
                <c:pt idx="649">
                  <c:v>42311</c:v>
                </c:pt>
                <c:pt idx="650">
                  <c:v>42312</c:v>
                </c:pt>
                <c:pt idx="651">
                  <c:v>42313</c:v>
                </c:pt>
                <c:pt idx="652">
                  <c:v>42314</c:v>
                </c:pt>
                <c:pt idx="653">
                  <c:v>42315</c:v>
                </c:pt>
                <c:pt idx="654">
                  <c:v>42316</c:v>
                </c:pt>
                <c:pt idx="655">
                  <c:v>42317</c:v>
                </c:pt>
                <c:pt idx="656">
                  <c:v>42318</c:v>
                </c:pt>
                <c:pt idx="657">
                  <c:v>42319</c:v>
                </c:pt>
                <c:pt idx="658">
                  <c:v>42320</c:v>
                </c:pt>
                <c:pt idx="659">
                  <c:v>42321</c:v>
                </c:pt>
                <c:pt idx="660">
                  <c:v>42322</c:v>
                </c:pt>
                <c:pt idx="661">
                  <c:v>42323</c:v>
                </c:pt>
                <c:pt idx="662">
                  <c:v>42324</c:v>
                </c:pt>
                <c:pt idx="663">
                  <c:v>42325</c:v>
                </c:pt>
                <c:pt idx="664">
                  <c:v>42326</c:v>
                </c:pt>
                <c:pt idx="665">
                  <c:v>42329</c:v>
                </c:pt>
                <c:pt idx="666">
                  <c:v>42330</c:v>
                </c:pt>
                <c:pt idx="667">
                  <c:v>42331</c:v>
                </c:pt>
                <c:pt idx="668">
                  <c:v>42332</c:v>
                </c:pt>
                <c:pt idx="669">
                  <c:v>42333</c:v>
                </c:pt>
                <c:pt idx="670">
                  <c:v>42334</c:v>
                </c:pt>
                <c:pt idx="671">
                  <c:v>42335</c:v>
                </c:pt>
                <c:pt idx="672">
                  <c:v>42336</c:v>
                </c:pt>
                <c:pt idx="673">
                  <c:v>42337</c:v>
                </c:pt>
                <c:pt idx="674">
                  <c:v>42338</c:v>
                </c:pt>
                <c:pt idx="675">
                  <c:v>42339</c:v>
                </c:pt>
                <c:pt idx="676">
                  <c:v>42340</c:v>
                </c:pt>
                <c:pt idx="677">
                  <c:v>42341</c:v>
                </c:pt>
                <c:pt idx="678">
                  <c:v>42342</c:v>
                </c:pt>
                <c:pt idx="679">
                  <c:v>42343</c:v>
                </c:pt>
                <c:pt idx="680">
                  <c:v>42344</c:v>
                </c:pt>
                <c:pt idx="681">
                  <c:v>42345</c:v>
                </c:pt>
                <c:pt idx="682">
                  <c:v>42346</c:v>
                </c:pt>
                <c:pt idx="683">
                  <c:v>42347</c:v>
                </c:pt>
                <c:pt idx="684">
                  <c:v>42348</c:v>
                </c:pt>
                <c:pt idx="685">
                  <c:v>42349</c:v>
                </c:pt>
                <c:pt idx="686">
                  <c:v>42350</c:v>
                </c:pt>
                <c:pt idx="687">
                  <c:v>42351</c:v>
                </c:pt>
                <c:pt idx="688">
                  <c:v>42352</c:v>
                </c:pt>
                <c:pt idx="689">
                  <c:v>42353</c:v>
                </c:pt>
                <c:pt idx="690">
                  <c:v>42354</c:v>
                </c:pt>
                <c:pt idx="691">
                  <c:v>42355</c:v>
                </c:pt>
                <c:pt idx="692">
                  <c:v>42356</c:v>
                </c:pt>
                <c:pt idx="693">
                  <c:v>42359</c:v>
                </c:pt>
                <c:pt idx="694">
                  <c:v>42360</c:v>
                </c:pt>
                <c:pt idx="695">
                  <c:v>42361</c:v>
                </c:pt>
                <c:pt idx="696">
                  <c:v>42362</c:v>
                </c:pt>
                <c:pt idx="697">
                  <c:v>42363</c:v>
                </c:pt>
                <c:pt idx="698">
                  <c:v>42364</c:v>
                </c:pt>
                <c:pt idx="699">
                  <c:v>42365</c:v>
                </c:pt>
                <c:pt idx="700">
                  <c:v>42366</c:v>
                </c:pt>
                <c:pt idx="701">
                  <c:v>42367</c:v>
                </c:pt>
                <c:pt idx="702">
                  <c:v>42368</c:v>
                </c:pt>
                <c:pt idx="703">
                  <c:v>42369</c:v>
                </c:pt>
              </c:numCache>
            </c:numRef>
          </c:cat>
          <c:val>
            <c:numRef>
              <c:f>'Network-Day'!$C$2:$C$705</c:f>
              <c:numCache>
                <c:formatCode>0.00%</c:formatCode>
                <c:ptCount val="704"/>
                <c:pt idx="0">
                  <c:v>0.99592758396429371</c:v>
                </c:pt>
                <c:pt idx="1">
                  <c:v>0.9951163524442409</c:v>
                </c:pt>
                <c:pt idx="2">
                  <c:v>0.99406351414001759</c:v>
                </c:pt>
                <c:pt idx="3">
                  <c:v>0.99425667561690556</c:v>
                </c:pt>
                <c:pt idx="4">
                  <c:v>0.99263893718126406</c:v>
                </c:pt>
                <c:pt idx="5">
                  <c:v>0.98790626770720213</c:v>
                </c:pt>
                <c:pt idx="6">
                  <c:v>0.99024656480200934</c:v>
                </c:pt>
                <c:pt idx="7">
                  <c:v>0.99440948880902702</c:v>
                </c:pt>
                <c:pt idx="8">
                  <c:v>0.99518910491673918</c:v>
                </c:pt>
                <c:pt idx="9">
                  <c:v>0.99400046843604184</c:v>
                </c:pt>
                <c:pt idx="10">
                  <c:v>0.99245752685051813</c:v>
                </c:pt>
                <c:pt idx="11">
                  <c:v>0.99603104234275952</c:v>
                </c:pt>
                <c:pt idx="12">
                  <c:v>0.99733611980380166</c:v>
                </c:pt>
                <c:pt idx="13">
                  <c:v>0.99530177104255568</c:v>
                </c:pt>
                <c:pt idx="14">
                  <c:v>0.99509223844833306</c:v>
                </c:pt>
                <c:pt idx="15">
                  <c:v>0.99691698217690383</c:v>
                </c:pt>
                <c:pt idx="16">
                  <c:v>0.99758414142585972</c:v>
                </c:pt>
                <c:pt idx="17">
                  <c:v>0.99722252807398426</c:v>
                </c:pt>
                <c:pt idx="18">
                  <c:v>0.99617972653634224</c:v>
                </c:pt>
                <c:pt idx="19">
                  <c:v>0.99862320030390872</c:v>
                </c:pt>
                <c:pt idx="20">
                  <c:v>0.99645418018853293</c:v>
                </c:pt>
                <c:pt idx="21">
                  <c:v>0.99401605882655553</c:v>
                </c:pt>
                <c:pt idx="22">
                  <c:v>0.99443615425227805</c:v>
                </c:pt>
                <c:pt idx="23">
                  <c:v>0.99418319875853389</c:v>
                </c:pt>
                <c:pt idx="24">
                  <c:v>0.99781375560192154</c:v>
                </c:pt>
                <c:pt idx="25">
                  <c:v>0.99752933762174356</c:v>
                </c:pt>
                <c:pt idx="26">
                  <c:v>0.99648340512801759</c:v>
                </c:pt>
                <c:pt idx="27">
                  <c:v>0.99448892172771919</c:v>
                </c:pt>
                <c:pt idx="28">
                  <c:v>0.99551412874111123</c:v>
                </c:pt>
                <c:pt idx="29">
                  <c:v>0.99638373770150701</c:v>
                </c:pt>
                <c:pt idx="30">
                  <c:v>0.99435920034259284</c:v>
                </c:pt>
                <c:pt idx="31">
                  <c:v>0.99525033160769072</c:v>
                </c:pt>
                <c:pt idx="32">
                  <c:v>0.99566792387831782</c:v>
                </c:pt>
                <c:pt idx="33">
                  <c:v>0.99695657388087344</c:v>
                </c:pt>
                <c:pt idx="34">
                  <c:v>0.99610325555041024</c:v>
                </c:pt>
                <c:pt idx="35">
                  <c:v>0.9944078066244082</c:v>
                </c:pt>
                <c:pt idx="36">
                  <c:v>0.99501792452218252</c:v>
                </c:pt>
                <c:pt idx="37">
                  <c:v>0.9938185590841444</c:v>
                </c:pt>
                <c:pt idx="38">
                  <c:v>0.9973036190310719</c:v>
                </c:pt>
                <c:pt idx="39">
                  <c:v>0.99664426705043474</c:v>
                </c:pt>
                <c:pt idx="40">
                  <c:v>0.99480987289445955</c:v>
                </c:pt>
                <c:pt idx="41">
                  <c:v>0.99431007894194079</c:v>
                </c:pt>
                <c:pt idx="42">
                  <c:v>0.99574041074283004</c:v>
                </c:pt>
                <c:pt idx="43">
                  <c:v>0.9956966819913905</c:v>
                </c:pt>
                <c:pt idx="44">
                  <c:v>0.99587429332148603</c:v>
                </c:pt>
                <c:pt idx="45">
                  <c:v>0.99370853294176964</c:v>
                </c:pt>
                <c:pt idx="46">
                  <c:v>0.99649349018696287</c:v>
                </c:pt>
                <c:pt idx="47">
                  <c:v>0.99786752916862054</c:v>
                </c:pt>
                <c:pt idx="48">
                  <c:v>0.9982905060396926</c:v>
                </c:pt>
                <c:pt idx="49">
                  <c:v>0.99606174019984151</c:v>
                </c:pt>
                <c:pt idx="50">
                  <c:v>0.99489699235044315</c:v>
                </c:pt>
                <c:pt idx="51">
                  <c:v>0.99670326424305966</c:v>
                </c:pt>
                <c:pt idx="52">
                  <c:v>0.99692555407458616</c:v>
                </c:pt>
                <c:pt idx="53">
                  <c:v>0.9957655710734018</c:v>
                </c:pt>
                <c:pt idx="54">
                  <c:v>0.99505415990573431</c:v>
                </c:pt>
                <c:pt idx="55">
                  <c:v>0.9943439560474775</c:v>
                </c:pt>
                <c:pt idx="56">
                  <c:v>0.99178973175188545</c:v>
                </c:pt>
                <c:pt idx="57">
                  <c:v>0.99252109572203073</c:v>
                </c:pt>
                <c:pt idx="58">
                  <c:v>0.99266854041106356</c:v>
                </c:pt>
                <c:pt idx="59">
                  <c:v>0.99716052065623528</c:v>
                </c:pt>
                <c:pt idx="60">
                  <c:v>0.98971662030594953</c:v>
                </c:pt>
                <c:pt idx="61">
                  <c:v>0.99745161103389857</c:v>
                </c:pt>
                <c:pt idx="62">
                  <c:v>0.99502227083654571</c:v>
                </c:pt>
                <c:pt idx="63">
                  <c:v>0.99577268615104042</c:v>
                </c:pt>
                <c:pt idx="64">
                  <c:v>0.99369601716634837</c:v>
                </c:pt>
                <c:pt idx="65">
                  <c:v>0.99413640344097021</c:v>
                </c:pt>
                <c:pt idx="66">
                  <c:v>0.99579505357235121</c:v>
                </c:pt>
                <c:pt idx="67">
                  <c:v>0.99491399126872604</c:v>
                </c:pt>
                <c:pt idx="68">
                  <c:v>0.99275966008603245</c:v>
                </c:pt>
                <c:pt idx="69">
                  <c:v>0.99279311865759357</c:v>
                </c:pt>
                <c:pt idx="70">
                  <c:v>0.99546473368360266</c:v>
                </c:pt>
                <c:pt idx="71">
                  <c:v>0.99324298633646479</c:v>
                </c:pt>
                <c:pt idx="72">
                  <c:v>0.99618058775049123</c:v>
                </c:pt>
                <c:pt idx="73">
                  <c:v>0.99665035189053153</c:v>
                </c:pt>
                <c:pt idx="74">
                  <c:v>0.99608605541388029</c:v>
                </c:pt>
                <c:pt idx="75">
                  <c:v>0.99665224334206381</c:v>
                </c:pt>
                <c:pt idx="76">
                  <c:v>0.99712298942724831</c:v>
                </c:pt>
                <c:pt idx="77">
                  <c:v>0.99831441881732808</c:v>
                </c:pt>
                <c:pt idx="78">
                  <c:v>0.99484682461500928</c:v>
                </c:pt>
                <c:pt idx="79">
                  <c:v>0.99784115347973912</c:v>
                </c:pt>
                <c:pt idx="80">
                  <c:v>0.9968278907819571</c:v>
                </c:pt>
                <c:pt idx="81">
                  <c:v>0.99742665997015956</c:v>
                </c:pt>
                <c:pt idx="82">
                  <c:v>0.99778665552723422</c:v>
                </c:pt>
                <c:pt idx="83">
                  <c:v>0.99831769465051923</c:v>
                </c:pt>
                <c:pt idx="84">
                  <c:v>0.99829430504050654</c:v>
                </c:pt>
                <c:pt idx="85">
                  <c:v>0.99798418746459738</c:v>
                </c:pt>
                <c:pt idx="86">
                  <c:v>0.99737786051878519</c:v>
                </c:pt>
                <c:pt idx="87">
                  <c:v>0.99844444605418703</c:v>
                </c:pt>
                <c:pt idx="88">
                  <c:v>0.99581011274668363</c:v>
                </c:pt>
                <c:pt idx="89">
                  <c:v>0.99625657581262794</c:v>
                </c:pt>
                <c:pt idx="90">
                  <c:v>0.99723345824955367</c:v>
                </c:pt>
                <c:pt idx="91">
                  <c:v>0.99664128902030158</c:v>
                </c:pt>
                <c:pt idx="92">
                  <c:v>0.99502010572806077</c:v>
                </c:pt>
                <c:pt idx="93">
                  <c:v>0.99567601285224205</c:v>
                </c:pt>
                <c:pt idx="94">
                  <c:v>0.99604620615050155</c:v>
                </c:pt>
                <c:pt idx="95">
                  <c:v>0.99790403820894957</c:v>
                </c:pt>
                <c:pt idx="96">
                  <c:v>0.99879846945343476</c:v>
                </c:pt>
                <c:pt idx="97">
                  <c:v>0.99433065149642363</c:v>
                </c:pt>
                <c:pt idx="98">
                  <c:v>0.99793768190131726</c:v>
                </c:pt>
                <c:pt idx="99">
                  <c:v>0.99786132359756907</c:v>
                </c:pt>
                <c:pt idx="100">
                  <c:v>0.99906041537887891</c:v>
                </c:pt>
                <c:pt idx="101">
                  <c:v>0.99860424554423843</c:v>
                </c:pt>
                <c:pt idx="102">
                  <c:v>0.99803062058930869</c:v>
                </c:pt>
                <c:pt idx="103">
                  <c:v>0.9984375000000425</c:v>
                </c:pt>
                <c:pt idx="104">
                  <c:v>0.99853932448619787</c:v>
                </c:pt>
                <c:pt idx="105">
                  <c:v>0.99819241616445209</c:v>
                </c:pt>
                <c:pt idx="106">
                  <c:v>0.99958832354606986</c:v>
                </c:pt>
                <c:pt idx="107">
                  <c:v>0.99929072174573386</c:v>
                </c:pt>
                <c:pt idx="108">
                  <c:v>0.99944718906146424</c:v>
                </c:pt>
                <c:pt idx="109">
                  <c:v>0.99732209086697232</c:v>
                </c:pt>
                <c:pt idx="110">
                  <c:v>0.99876038286196733</c:v>
                </c:pt>
                <c:pt idx="111">
                  <c:v>0.99859933581874527</c:v>
                </c:pt>
                <c:pt idx="112">
                  <c:v>0.99893537030600599</c:v>
                </c:pt>
                <c:pt idx="113">
                  <c:v>0.99833722891879551</c:v>
                </c:pt>
                <c:pt idx="114">
                  <c:v>0.99851525073405178</c:v>
                </c:pt>
                <c:pt idx="115">
                  <c:v>0.99837930768039462</c:v>
                </c:pt>
                <c:pt idx="116">
                  <c:v>0.99867419705870142</c:v>
                </c:pt>
                <c:pt idx="117">
                  <c:v>0.99910430510485615</c:v>
                </c:pt>
                <c:pt idx="118">
                  <c:v>0.99769511731827298</c:v>
                </c:pt>
                <c:pt idx="119">
                  <c:v>0.99758547751508531</c:v>
                </c:pt>
                <c:pt idx="120">
                  <c:v>0.99928478983153213</c:v>
                </c:pt>
                <c:pt idx="121">
                  <c:v>0.99913749806828633</c:v>
                </c:pt>
                <c:pt idx="122">
                  <c:v>0.99922828774533967</c:v>
                </c:pt>
                <c:pt idx="123">
                  <c:v>0.99957695873899677</c:v>
                </c:pt>
                <c:pt idx="124">
                  <c:v>0.99954073945293953</c:v>
                </c:pt>
                <c:pt idx="125">
                  <c:v>0.99932294081287165</c:v>
                </c:pt>
                <c:pt idx="126">
                  <c:v>0.9979178176350193</c:v>
                </c:pt>
                <c:pt idx="127">
                  <c:v>0.99947071549987732</c:v>
                </c:pt>
                <c:pt idx="128">
                  <c:v>0.99885740225617914</c:v>
                </c:pt>
                <c:pt idx="129">
                  <c:v>0.99953204682426533</c:v>
                </c:pt>
                <c:pt idx="130">
                  <c:v>0.99931424818424297</c:v>
                </c:pt>
                <c:pt idx="131">
                  <c:v>0.99963114279090715</c:v>
                </c:pt>
                <c:pt idx="132">
                  <c:v>0.99924913395661996</c:v>
                </c:pt>
                <c:pt idx="133">
                  <c:v>0.99837839817391705</c:v>
                </c:pt>
                <c:pt idx="134">
                  <c:v>0.99774550236954651</c:v>
                </c:pt>
                <c:pt idx="135">
                  <c:v>0.99861264036981423</c:v>
                </c:pt>
                <c:pt idx="136">
                  <c:v>0.99898709144645115</c:v>
                </c:pt>
                <c:pt idx="137">
                  <c:v>0.99952086713802069</c:v>
                </c:pt>
                <c:pt idx="138">
                  <c:v>0.99939313378922223</c:v>
                </c:pt>
                <c:pt idx="139">
                  <c:v>0.99941372244116256</c:v>
                </c:pt>
                <c:pt idx="140">
                  <c:v>0.99969897748930492</c:v>
                </c:pt>
                <c:pt idx="141">
                  <c:v>0.99741721880955725</c:v>
                </c:pt>
                <c:pt idx="142">
                  <c:v>0.99854435494253946</c:v>
                </c:pt>
                <c:pt idx="143">
                  <c:v>0.99833813842531693</c:v>
                </c:pt>
                <c:pt idx="144">
                  <c:v>0.99869109134341116</c:v>
                </c:pt>
                <c:pt idx="145">
                  <c:v>0.99959173620776265</c:v>
                </c:pt>
                <c:pt idx="146">
                  <c:v>0.99934333629522609</c:v>
                </c:pt>
                <c:pt idx="147">
                  <c:v>0.99818082599292191</c:v>
                </c:pt>
                <c:pt idx="148">
                  <c:v>0.99846031815019654</c:v>
                </c:pt>
                <c:pt idx="149">
                  <c:v>0.99824760630759335</c:v>
                </c:pt>
                <c:pt idx="150">
                  <c:v>0.99863422706432925</c:v>
                </c:pt>
                <c:pt idx="151">
                  <c:v>0.99935312355120964</c:v>
                </c:pt>
                <c:pt idx="152">
                  <c:v>0.99894304074583329</c:v>
                </c:pt>
                <c:pt idx="153">
                  <c:v>0.9991400495157845</c:v>
                </c:pt>
                <c:pt idx="154">
                  <c:v>0.99765225782986633</c:v>
                </c:pt>
                <c:pt idx="155">
                  <c:v>0.99832195242880384</c:v>
                </c:pt>
                <c:pt idx="156">
                  <c:v>0.99959746690366147</c:v>
                </c:pt>
                <c:pt idx="157">
                  <c:v>0.99918661946893161</c:v>
                </c:pt>
                <c:pt idx="158">
                  <c:v>0.99784358419617469</c:v>
                </c:pt>
                <c:pt idx="159">
                  <c:v>0.99938547139803602</c:v>
                </c:pt>
                <c:pt idx="160">
                  <c:v>0.99890599244063649</c:v>
                </c:pt>
                <c:pt idx="161">
                  <c:v>0.99838494984029591</c:v>
                </c:pt>
                <c:pt idx="162">
                  <c:v>0.99856111239893475</c:v>
                </c:pt>
                <c:pt idx="163">
                  <c:v>0.99786807648223896</c:v>
                </c:pt>
                <c:pt idx="164">
                  <c:v>0.99867034976569047</c:v>
                </c:pt>
                <c:pt idx="165">
                  <c:v>0.99939133892236054</c:v>
                </c:pt>
                <c:pt idx="166">
                  <c:v>0.99880071504922396</c:v>
                </c:pt>
                <c:pt idx="167">
                  <c:v>0.99900166769694454</c:v>
                </c:pt>
                <c:pt idx="168">
                  <c:v>0.99966919718746627</c:v>
                </c:pt>
                <c:pt idx="169">
                  <c:v>0.9994518975685972</c:v>
                </c:pt>
                <c:pt idx="170">
                  <c:v>0.99886471855201098</c:v>
                </c:pt>
                <c:pt idx="171">
                  <c:v>0.99829684843925237</c:v>
                </c:pt>
                <c:pt idx="172">
                  <c:v>0.99920767494718787</c:v>
                </c:pt>
                <c:pt idx="173">
                  <c:v>0.99888808401586771</c:v>
                </c:pt>
                <c:pt idx="174">
                  <c:v>0.99876988036367076</c:v>
                </c:pt>
                <c:pt idx="175">
                  <c:v>0.99962766573948403</c:v>
                </c:pt>
                <c:pt idx="176">
                  <c:v>0.99949626216965626</c:v>
                </c:pt>
                <c:pt idx="177">
                  <c:v>0.99919532819501444</c:v>
                </c:pt>
                <c:pt idx="178">
                  <c:v>0.99866798343888585</c:v>
                </c:pt>
                <c:pt idx="179">
                  <c:v>0.99907165945498555</c:v>
                </c:pt>
                <c:pt idx="180">
                  <c:v>0.99960139468397669</c:v>
                </c:pt>
                <c:pt idx="181">
                  <c:v>0.99844106558749357</c:v>
                </c:pt>
                <c:pt idx="182">
                  <c:v>0.99922985724771729</c:v>
                </c:pt>
                <c:pt idx="183">
                  <c:v>0.99926590751038502</c:v>
                </c:pt>
                <c:pt idx="184">
                  <c:v>0.99943517230721135</c:v>
                </c:pt>
                <c:pt idx="185">
                  <c:v>0.99845050674806202</c:v>
                </c:pt>
                <c:pt idx="186">
                  <c:v>0.99886873486841821</c:v>
                </c:pt>
                <c:pt idx="187">
                  <c:v>0.9993128638026062</c:v>
                </c:pt>
                <c:pt idx="188">
                  <c:v>0.99929095515892463</c:v>
                </c:pt>
                <c:pt idx="189">
                  <c:v>0.9990839176711277</c:v>
                </c:pt>
                <c:pt idx="190">
                  <c:v>0.99940136764022669</c:v>
                </c:pt>
                <c:pt idx="191">
                  <c:v>0.99834325741772689</c:v>
                </c:pt>
                <c:pt idx="192">
                  <c:v>0.99913777977385965</c:v>
                </c:pt>
                <c:pt idx="193">
                  <c:v>0.99783139841862833</c:v>
                </c:pt>
                <c:pt idx="194">
                  <c:v>0.998820836874727</c:v>
                </c:pt>
                <c:pt idx="195">
                  <c:v>0.99834085889604274</c:v>
                </c:pt>
                <c:pt idx="196">
                  <c:v>0.99860383505898997</c:v>
                </c:pt>
                <c:pt idx="197">
                  <c:v>0.99978970277646095</c:v>
                </c:pt>
                <c:pt idx="198">
                  <c:v>0.99901879539488048</c:v>
                </c:pt>
                <c:pt idx="199">
                  <c:v>0.99920596861636768</c:v>
                </c:pt>
                <c:pt idx="200">
                  <c:v>0.99922992968622537</c:v>
                </c:pt>
                <c:pt idx="201">
                  <c:v>0.9995899976819802</c:v>
                </c:pt>
                <c:pt idx="202">
                  <c:v>0.9992010588909942</c:v>
                </c:pt>
                <c:pt idx="203">
                  <c:v>0.99910486851597602</c:v>
                </c:pt>
                <c:pt idx="204">
                  <c:v>0.9983978680523482</c:v>
                </c:pt>
                <c:pt idx="205">
                  <c:v>0.99864459382892889</c:v>
                </c:pt>
                <c:pt idx="206">
                  <c:v>0.99964736903104867</c:v>
                </c:pt>
                <c:pt idx="207">
                  <c:v>0.99921235125944297</c:v>
                </c:pt>
                <c:pt idx="208">
                  <c:v>0.99927568671767697</c:v>
                </c:pt>
                <c:pt idx="209">
                  <c:v>0.99741788685417099</c:v>
                </c:pt>
                <c:pt idx="210">
                  <c:v>0.99849620743835676</c:v>
                </c:pt>
                <c:pt idx="211">
                  <c:v>0.99697479620622842</c:v>
                </c:pt>
                <c:pt idx="212">
                  <c:v>0.99668956557501198</c:v>
                </c:pt>
                <c:pt idx="213">
                  <c:v>0.99770547486422623</c:v>
                </c:pt>
                <c:pt idx="214">
                  <c:v>0.99952758150144372</c:v>
                </c:pt>
                <c:pt idx="215">
                  <c:v>0.99945642353321118</c:v>
                </c:pt>
                <c:pt idx="216">
                  <c:v>0.99865795261948942</c:v>
                </c:pt>
                <c:pt idx="217">
                  <c:v>0.999072874607426</c:v>
                </c:pt>
                <c:pt idx="218">
                  <c:v>0.99891111796520304</c:v>
                </c:pt>
                <c:pt idx="219">
                  <c:v>0.99937644870644671</c:v>
                </c:pt>
                <c:pt idx="220">
                  <c:v>0.99894227294253402</c:v>
                </c:pt>
                <c:pt idx="221">
                  <c:v>0.99982022020334504</c:v>
                </c:pt>
                <c:pt idx="222">
                  <c:v>0.9994323251582572</c:v>
                </c:pt>
                <c:pt idx="223">
                  <c:v>0.99918986154725731</c:v>
                </c:pt>
                <c:pt idx="224">
                  <c:v>0.99895004610936589</c:v>
                </c:pt>
                <c:pt idx="225">
                  <c:v>0.999079417152686</c:v>
                </c:pt>
                <c:pt idx="226">
                  <c:v>0.99802258580084613</c:v>
                </c:pt>
                <c:pt idx="227">
                  <c:v>0.99723985593937647</c:v>
                </c:pt>
                <c:pt idx="228">
                  <c:v>0.99763894341006953</c:v>
                </c:pt>
                <c:pt idx="229">
                  <c:v>0.9992472178605083</c:v>
                </c:pt>
                <c:pt idx="230">
                  <c:v>0.99919057811173173</c:v>
                </c:pt>
                <c:pt idx="231">
                  <c:v>0.99955854176012582</c:v>
                </c:pt>
                <c:pt idx="232">
                  <c:v>0.99946075407508672</c:v>
                </c:pt>
                <c:pt idx="233">
                  <c:v>0.9986238924405445</c:v>
                </c:pt>
                <c:pt idx="234">
                  <c:v>0.99818291710286788</c:v>
                </c:pt>
                <c:pt idx="235">
                  <c:v>0.99852896322470619</c:v>
                </c:pt>
                <c:pt idx="236">
                  <c:v>0.99786927994622976</c:v>
                </c:pt>
                <c:pt idx="237">
                  <c:v>0.99826563356765885</c:v>
                </c:pt>
                <c:pt idx="238">
                  <c:v>0.99850923433527028</c:v>
                </c:pt>
                <c:pt idx="239">
                  <c:v>0.99864921364837966</c:v>
                </c:pt>
                <c:pt idx="240">
                  <c:v>0.99873944625145461</c:v>
                </c:pt>
                <c:pt idx="241">
                  <c:v>0.99777749738298105</c:v>
                </c:pt>
                <c:pt idx="242">
                  <c:v>0.99751664454668565</c:v>
                </c:pt>
                <c:pt idx="243">
                  <c:v>0.99945874183006167</c:v>
                </c:pt>
                <c:pt idx="244">
                  <c:v>0.99911054478612393</c:v>
                </c:pt>
                <c:pt idx="245">
                  <c:v>0.99901448616065391</c:v>
                </c:pt>
                <c:pt idx="246">
                  <c:v>0.99933172100905809</c:v>
                </c:pt>
                <c:pt idx="247">
                  <c:v>0.99933990641711035</c:v>
                </c:pt>
                <c:pt idx="248">
                  <c:v>0.99980039364229678</c:v>
                </c:pt>
                <c:pt idx="249">
                  <c:v>0.99890912804513254</c:v>
                </c:pt>
                <c:pt idx="250">
                  <c:v>0.9990002661418117</c:v>
                </c:pt>
                <c:pt idx="251">
                  <c:v>0.99905860071299823</c:v>
                </c:pt>
                <c:pt idx="252">
                  <c:v>0.99965297893148597</c:v>
                </c:pt>
                <c:pt idx="253">
                  <c:v>0.99643682536144018</c:v>
                </c:pt>
                <c:pt idx="254">
                  <c:v>0.99861239540005919</c:v>
                </c:pt>
                <c:pt idx="255">
                  <c:v>0.99879198696526339</c:v>
                </c:pt>
                <c:pt idx="256">
                  <c:v>0.99900781714204345</c:v>
                </c:pt>
                <c:pt idx="257">
                  <c:v>0.99934278446225477</c:v>
                </c:pt>
                <c:pt idx="258">
                  <c:v>0.99831123737374794</c:v>
                </c:pt>
                <c:pt idx="259">
                  <c:v>0.99961607496535532</c:v>
                </c:pt>
                <c:pt idx="260">
                  <c:v>0.99957346132899094</c:v>
                </c:pt>
                <c:pt idx="261">
                  <c:v>0.99810465253017966</c:v>
                </c:pt>
                <c:pt idx="262">
                  <c:v>0.99860745166119702</c:v>
                </c:pt>
                <c:pt idx="263">
                  <c:v>0.9989154643865289</c:v>
                </c:pt>
                <c:pt idx="264">
                  <c:v>0.9992270205114967</c:v>
                </c:pt>
                <c:pt idx="265">
                  <c:v>0.99908891302733205</c:v>
                </c:pt>
                <c:pt idx="266">
                  <c:v>0.99932184900473731</c:v>
                </c:pt>
                <c:pt idx="267">
                  <c:v>0.9986175789760301</c:v>
                </c:pt>
                <c:pt idx="268">
                  <c:v>0.99928743624977534</c:v>
                </c:pt>
                <c:pt idx="269">
                  <c:v>0.99923365084669546</c:v>
                </c:pt>
                <c:pt idx="270">
                  <c:v>0.99759124641022834</c:v>
                </c:pt>
                <c:pt idx="271">
                  <c:v>0.99701303011733933</c:v>
                </c:pt>
                <c:pt idx="272">
                  <c:v>0.99739042539362155</c:v>
                </c:pt>
                <c:pt idx="273">
                  <c:v>0.9962081136116292</c:v>
                </c:pt>
                <c:pt idx="274">
                  <c:v>0.99868241235885447</c:v>
                </c:pt>
                <c:pt idx="275">
                  <c:v>0.99800707751534568</c:v>
                </c:pt>
                <c:pt idx="276">
                  <c:v>0.99662482669829477</c:v>
                </c:pt>
                <c:pt idx="277">
                  <c:v>0.99764648630919894</c:v>
                </c:pt>
                <c:pt idx="278">
                  <c:v>0.99926600564465129</c:v>
                </c:pt>
                <c:pt idx="279">
                  <c:v>0.99834690347091826</c:v>
                </c:pt>
                <c:pt idx="280">
                  <c:v>0.99893029560305213</c:v>
                </c:pt>
                <c:pt idx="281">
                  <c:v>0.9987060247078291</c:v>
                </c:pt>
                <c:pt idx="282">
                  <c:v>0.99770232966919259</c:v>
                </c:pt>
                <c:pt idx="283">
                  <c:v>0.99886507538618374</c:v>
                </c:pt>
                <c:pt idx="284">
                  <c:v>0.99612361358686519</c:v>
                </c:pt>
                <c:pt idx="285">
                  <c:v>0.99859054701429317</c:v>
                </c:pt>
                <c:pt idx="286">
                  <c:v>0.99727591478512034</c:v>
                </c:pt>
                <c:pt idx="287">
                  <c:v>0.9979426619132169</c:v>
                </c:pt>
                <c:pt idx="288">
                  <c:v>0.99562066745878608</c:v>
                </c:pt>
                <c:pt idx="289">
                  <c:v>0.99664747969887335</c:v>
                </c:pt>
                <c:pt idx="290">
                  <c:v>0.99845473732422885</c:v>
                </c:pt>
                <c:pt idx="291">
                  <c:v>0.99596084930188244</c:v>
                </c:pt>
                <c:pt idx="292">
                  <c:v>0.99773836712714437</c:v>
                </c:pt>
                <c:pt idx="293">
                  <c:v>0.99792963334319229</c:v>
                </c:pt>
                <c:pt idx="294">
                  <c:v>0.99751637081598432</c:v>
                </c:pt>
                <c:pt idx="295">
                  <c:v>0.99884276279955042</c:v>
                </c:pt>
                <c:pt idx="296">
                  <c:v>0.99940427559911593</c:v>
                </c:pt>
                <c:pt idx="297">
                  <c:v>0.99955546581007182</c:v>
                </c:pt>
                <c:pt idx="298">
                  <c:v>0.99761923772027383</c:v>
                </c:pt>
                <c:pt idx="299">
                  <c:v>0.99870944432063513</c:v>
                </c:pt>
                <c:pt idx="300">
                  <c:v>0.99812585103486751</c:v>
                </c:pt>
                <c:pt idx="301">
                  <c:v>0.99905627970883137</c:v>
                </c:pt>
                <c:pt idx="302">
                  <c:v>0.99888847110819878</c:v>
                </c:pt>
                <c:pt idx="303">
                  <c:v>0.99902729810356816</c:v>
                </c:pt>
                <c:pt idx="304">
                  <c:v>0.99799437388588208</c:v>
                </c:pt>
                <c:pt idx="305">
                  <c:v>0.99803383095664966</c:v>
                </c:pt>
                <c:pt idx="306">
                  <c:v>0.99757628367003237</c:v>
                </c:pt>
                <c:pt idx="307">
                  <c:v>0.99687094597938608</c:v>
                </c:pt>
                <c:pt idx="308">
                  <c:v>0.99641452824817633</c:v>
                </c:pt>
                <c:pt idx="309">
                  <c:v>0.99729089299871509</c:v>
                </c:pt>
                <c:pt idx="310">
                  <c:v>0.99869692637159635</c:v>
                </c:pt>
                <c:pt idx="311">
                  <c:v>0.99851678550200929</c:v>
                </c:pt>
                <c:pt idx="312">
                  <c:v>0.99784808873051778</c:v>
                </c:pt>
                <c:pt idx="313">
                  <c:v>0.99713088297192531</c:v>
                </c:pt>
                <c:pt idx="314">
                  <c:v>0.99881480243622944</c:v>
                </c:pt>
                <c:pt idx="315">
                  <c:v>0.99804037618827457</c:v>
                </c:pt>
                <c:pt idx="316">
                  <c:v>0.99639589832144149</c:v>
                </c:pt>
                <c:pt idx="317">
                  <c:v>0.99528286851365555</c:v>
                </c:pt>
                <c:pt idx="318">
                  <c:v>0.99777488425929417</c:v>
                </c:pt>
                <c:pt idx="319">
                  <c:v>0.99867334496936078</c:v>
                </c:pt>
                <c:pt idx="320">
                  <c:v>0.99749334645472154</c:v>
                </c:pt>
                <c:pt idx="321">
                  <c:v>0.99695123724998858</c:v>
                </c:pt>
                <c:pt idx="322">
                  <c:v>0.99761148556635959</c:v>
                </c:pt>
                <c:pt idx="323">
                  <c:v>0.99862109142905831</c:v>
                </c:pt>
                <c:pt idx="324">
                  <c:v>0.99816451896419212</c:v>
                </c:pt>
                <c:pt idx="325">
                  <c:v>0.99909576772627973</c:v>
                </c:pt>
                <c:pt idx="326">
                  <c:v>0.99858732855513066</c:v>
                </c:pt>
                <c:pt idx="327">
                  <c:v>0.99553731246294019</c:v>
                </c:pt>
                <c:pt idx="328">
                  <c:v>0.99694238648746425</c:v>
                </c:pt>
                <c:pt idx="329">
                  <c:v>0.99808066882051105</c:v>
                </c:pt>
                <c:pt idx="330">
                  <c:v>0.99656629097341132</c:v>
                </c:pt>
                <c:pt idx="331">
                  <c:v>0.99418664277586422</c:v>
                </c:pt>
                <c:pt idx="332">
                  <c:v>0.99600573752226129</c:v>
                </c:pt>
                <c:pt idx="333" formatCode="0.000%">
                  <c:v>0.99869171184884742</c:v>
                </c:pt>
                <c:pt idx="334" formatCode="0.000%">
                  <c:v>0.998348915007918</c:v>
                </c:pt>
                <c:pt idx="335" formatCode="0.000%">
                  <c:v>0.99819017379683739</c:v>
                </c:pt>
                <c:pt idx="336" formatCode="0.000%">
                  <c:v>0.99799313601698991</c:v>
                </c:pt>
                <c:pt idx="337" formatCode="0.000%">
                  <c:v>0.99830481592881681</c:v>
                </c:pt>
                <c:pt idx="338" formatCode="0.000%">
                  <c:v>0.99795408125377205</c:v>
                </c:pt>
                <c:pt idx="339" formatCode="0.000%">
                  <c:v>0.99884107620318952</c:v>
                </c:pt>
                <c:pt idx="340" formatCode="0.000%">
                  <c:v>0.99755949507330532</c:v>
                </c:pt>
                <c:pt idx="341" formatCode="0.000%">
                  <c:v>0.99867896179939686</c:v>
                </c:pt>
                <c:pt idx="342" formatCode="0.000%">
                  <c:v>0.99816061967720737</c:v>
                </c:pt>
                <c:pt idx="343" formatCode="0.000%">
                  <c:v>0.99844331798390717</c:v>
                </c:pt>
                <c:pt idx="344" formatCode="0.000%">
                  <c:v>0.9979993253614412</c:v>
                </c:pt>
                <c:pt idx="345" formatCode="0.000%">
                  <c:v>0.99777641612196932</c:v>
                </c:pt>
                <c:pt idx="346" formatCode="0.000%">
                  <c:v>0.99828369479104961</c:v>
                </c:pt>
                <c:pt idx="347" formatCode="0.000%">
                  <c:v>0.997413148024346</c:v>
                </c:pt>
                <c:pt idx="348" formatCode="0.000%">
                  <c:v>0.99757260101006573</c:v>
                </c:pt>
                <c:pt idx="349" formatCode="0.000%">
                  <c:v>0.99911724475145391</c:v>
                </c:pt>
                <c:pt idx="350" formatCode="0.000%">
                  <c:v>0.99695258343241411</c:v>
                </c:pt>
                <c:pt idx="351" formatCode="0.000%">
                  <c:v>0.99773202304907549</c:v>
                </c:pt>
                <c:pt idx="352" formatCode="0.000%">
                  <c:v>0.99757736680529729</c:v>
                </c:pt>
                <c:pt idx="353" formatCode="0.000%">
                  <c:v>0.99773162074177857</c:v>
                </c:pt>
                <c:pt idx="354" formatCode="0.000%">
                  <c:v>0.99744260930383655</c:v>
                </c:pt>
                <c:pt idx="355" formatCode="0.000%">
                  <c:v>0.99725631003663451</c:v>
                </c:pt>
                <c:pt idx="356" formatCode="0.000%">
                  <c:v>0.99777561150721028</c:v>
                </c:pt>
                <c:pt idx="357" formatCode="0.000%">
                  <c:v>0.99840016277977905</c:v>
                </c:pt>
                <c:pt idx="358" formatCode="0.000%">
                  <c:v>0.99831207293524604</c:v>
                </c:pt>
                <c:pt idx="359" formatCode="0.000%">
                  <c:v>0.99794427114279327</c:v>
                </c:pt>
                <c:pt idx="360" formatCode="0.000%">
                  <c:v>0.99742642416811789</c:v>
                </c:pt>
                <c:pt idx="361">
                  <c:v>0.99940682870369457</c:v>
                </c:pt>
                <c:pt idx="362" formatCode="0.000%">
                  <c:v>0.99908654560309063</c:v>
                </c:pt>
                <c:pt idx="363" formatCode="0.000%">
                  <c:v>1</c:v>
                </c:pt>
                <c:pt idx="364" formatCode="0.000%">
                  <c:v>0.99932757414838935</c:v>
                </c:pt>
                <c:pt idx="365" formatCode="0.000%">
                  <c:v>0.99869787024660828</c:v>
                </c:pt>
                <c:pt idx="366" formatCode="0.000%">
                  <c:v>0.99944996843435108</c:v>
                </c:pt>
                <c:pt idx="367" formatCode="0.000%">
                  <c:v>0.99884349004752493</c:v>
                </c:pt>
                <c:pt idx="368" formatCode="0.000%">
                  <c:v>0.99960840017824504</c:v>
                </c:pt>
                <c:pt idx="369" formatCode="0.000%">
                  <c:v>0.99923942241038799</c:v>
                </c:pt>
                <c:pt idx="370" formatCode="0.000%">
                  <c:v>0.99816377624280417</c:v>
                </c:pt>
                <c:pt idx="371" formatCode="0.000%">
                  <c:v>0.9992061546841009</c:v>
                </c:pt>
                <c:pt idx="372" formatCode="0.000%">
                  <c:v>0.99893551012579129</c:v>
                </c:pt>
                <c:pt idx="373" formatCode="0.000%">
                  <c:v>0.9993029560308857</c:v>
                </c:pt>
                <c:pt idx="374" formatCode="0.000%">
                  <c:v>0.99923795244105473</c:v>
                </c:pt>
                <c:pt idx="375" formatCode="0.000%">
                  <c:v>0.99930095996732848</c:v>
                </c:pt>
                <c:pt idx="376" formatCode="0.000%">
                  <c:v>0.99800095006439193</c:v>
                </c:pt>
                <c:pt idx="377" formatCode="0.000%">
                  <c:v>0.9988115220835887</c:v>
                </c:pt>
                <c:pt idx="378" formatCode="0.000%">
                  <c:v>0.99950168040702603</c:v>
                </c:pt>
                <c:pt idx="379" formatCode="0.000%">
                  <c:v>0.99930147058824614</c:v>
                </c:pt>
                <c:pt idx="380" formatCode="0.000%">
                  <c:v>0.999392933625462</c:v>
                </c:pt>
                <c:pt idx="381" formatCode="0.000%">
                  <c:v>0.99935243983958189</c:v>
                </c:pt>
                <c:pt idx="382" formatCode="0.000%">
                  <c:v>0.9998629060210078</c:v>
                </c:pt>
                <c:pt idx="383" formatCode="0.000%">
                  <c:v>0.99998262341552213</c:v>
                </c:pt>
                <c:pt idx="384" formatCode="0.000%">
                  <c:v>0.9997922391810371</c:v>
                </c:pt>
                <c:pt idx="385" formatCode="0.000%">
                  <c:v>0.99930934652904868</c:v>
                </c:pt>
                <c:pt idx="386" formatCode="0.000%">
                  <c:v>0.99840712579218216</c:v>
                </c:pt>
                <c:pt idx="387" formatCode="0.000%">
                  <c:v>0.99964921890473479</c:v>
                </c:pt>
                <c:pt idx="388" formatCode="0.000%">
                  <c:v>0.99912024658349152</c:v>
                </c:pt>
                <c:pt idx="389" formatCode="0.000%">
                  <c:v>0.99950615220836758</c:v>
                </c:pt>
                <c:pt idx="390">
                  <c:v>0.99838745915032512</c:v>
                </c:pt>
                <c:pt idx="391" formatCode="0.000%">
                  <c:v>0.99784977532683972</c:v>
                </c:pt>
                <c:pt idx="392" formatCode="0.000%">
                  <c:v>0.99901451710736866</c:v>
                </c:pt>
                <c:pt idx="393" formatCode="0.000%">
                  <c:v>0.99946980528322926</c:v>
                </c:pt>
                <c:pt idx="394" formatCode="0.000%">
                  <c:v>0.99989475019806551</c:v>
                </c:pt>
                <c:pt idx="395" formatCode="0.000%">
                  <c:v>0.99913409524163976</c:v>
                </c:pt>
                <c:pt idx="396" formatCode="0.000%">
                  <c:v>0.99838117696571493</c:v>
                </c:pt>
                <c:pt idx="397" formatCode="0.000%">
                  <c:v>0.99889029696476395</c:v>
                </c:pt>
                <c:pt idx="398" formatCode="0.000%">
                  <c:v>0.99932078134283231</c:v>
                </c:pt>
                <c:pt idx="399" formatCode="0.000%">
                  <c:v>0.99895873564069759</c:v>
                </c:pt>
                <c:pt idx="400" formatCode="0.000%">
                  <c:v>0.99973071709745143</c:v>
                </c:pt>
                <c:pt idx="401" formatCode="0.000%">
                  <c:v>0.99965845650133711</c:v>
                </c:pt>
                <c:pt idx="402" formatCode="0.000%">
                  <c:v>0.99808579050303303</c:v>
                </c:pt>
                <c:pt idx="403" formatCode="0.000%">
                  <c:v>0.99784016636960182</c:v>
                </c:pt>
                <c:pt idx="404" formatCode="0.000%">
                  <c:v>0.99960293808179745</c:v>
                </c:pt>
                <c:pt idx="405" formatCode="0.000%">
                  <c:v>0.99931313750246109</c:v>
                </c:pt>
                <c:pt idx="406" formatCode="0.000%">
                  <c:v>0.99970170454544904</c:v>
                </c:pt>
                <c:pt idx="407" formatCode="0.000%">
                  <c:v>0.99970478374429061</c:v>
                </c:pt>
                <c:pt idx="408" formatCode="0.000%">
                  <c:v>0.9976042440334798</c:v>
                </c:pt>
                <c:pt idx="409" formatCode="0.000%">
                  <c:v>0.99683074618734735</c:v>
                </c:pt>
                <c:pt idx="410" formatCode="0.000%">
                  <c:v>0.99920850663496785</c:v>
                </c:pt>
                <c:pt idx="411" formatCode="0.000%">
                  <c:v>0.99880199049313523</c:v>
                </c:pt>
                <c:pt idx="412" formatCode="0.000%">
                  <c:v>0.99868136017028974</c:v>
                </c:pt>
                <c:pt idx="413" formatCode="0.000%">
                  <c:v>0.99941933117946591</c:v>
                </c:pt>
                <c:pt idx="414" formatCode="0.000%">
                  <c:v>0.99946050579321677</c:v>
                </c:pt>
                <c:pt idx="415" formatCode="0.000%">
                  <c:v>0.99901204136958432</c:v>
                </c:pt>
                <c:pt idx="416">
                  <c:v>0.99804731926518275</c:v>
                </c:pt>
                <c:pt idx="417" formatCode="0.000%">
                  <c:v>0.99652297198735318</c:v>
                </c:pt>
                <c:pt idx="418" formatCode="0.000%">
                  <c:v>0.99951589774020289</c:v>
                </c:pt>
                <c:pt idx="419" formatCode="0.000%">
                  <c:v>0.99937581899318462</c:v>
                </c:pt>
                <c:pt idx="420" formatCode="0.000%">
                  <c:v>0.99949176061908529</c:v>
                </c:pt>
                <c:pt idx="421" formatCode="0.000%">
                  <c:v>0.99883834309944164</c:v>
                </c:pt>
                <c:pt idx="422" formatCode="0.000%">
                  <c:v>0.99908215583744309</c:v>
                </c:pt>
                <c:pt idx="423" formatCode="0.000%">
                  <c:v>0.99972168137763517</c:v>
                </c:pt>
                <c:pt idx="424" formatCode="0.000%">
                  <c:v>0.99912038582308316</c:v>
                </c:pt>
                <c:pt idx="425" formatCode="0.000%">
                  <c:v>0.99769847450923566</c:v>
                </c:pt>
                <c:pt idx="426" formatCode="0.000%">
                  <c:v>0.99899450810954882</c:v>
                </c:pt>
                <c:pt idx="427" formatCode="0.000%">
                  <c:v>0.99924363657719339</c:v>
                </c:pt>
                <c:pt idx="428" formatCode="0.000%">
                  <c:v>0.99943919052565611</c:v>
                </c:pt>
                <c:pt idx="429" formatCode="0.000%">
                  <c:v>0.99981359405131165</c:v>
                </c:pt>
                <c:pt idx="430" formatCode="0.000%">
                  <c:v>0.99935531325714688</c:v>
                </c:pt>
                <c:pt idx="431" formatCode="0.000%">
                  <c:v>0.99951425975372832</c:v>
                </c:pt>
                <c:pt idx="432" formatCode="0.000%">
                  <c:v>0.99964882188595483</c:v>
                </c:pt>
                <c:pt idx="433" formatCode="0.000%">
                  <c:v>0.999633863670082</c:v>
                </c:pt>
                <c:pt idx="434" formatCode="0.000%">
                  <c:v>0.99922010211148282</c:v>
                </c:pt>
                <c:pt idx="435" formatCode="0.000%">
                  <c:v>0.99933417396032909</c:v>
                </c:pt>
                <c:pt idx="436" formatCode="0.000%">
                  <c:v>0.99962652363648963</c:v>
                </c:pt>
                <c:pt idx="437" formatCode="0.000%">
                  <c:v>0.99984955248975549</c:v>
                </c:pt>
                <c:pt idx="438" formatCode="0.000%">
                  <c:v>0.99938675950652245</c:v>
                </c:pt>
                <c:pt idx="439" formatCode="0.000%">
                  <c:v>0.99910344966129161</c:v>
                </c:pt>
                <c:pt idx="440" formatCode="0.000%">
                  <c:v>0.99858303355089084</c:v>
                </c:pt>
                <c:pt idx="441" formatCode="0.000%">
                  <c:v>0.99982883041585335</c:v>
                </c:pt>
                <c:pt idx="442" formatCode="0.000%">
                  <c:v>0.99917065346385547</c:v>
                </c:pt>
                <c:pt idx="443" formatCode="0.000%">
                  <c:v>0.99850295764722719</c:v>
                </c:pt>
                <c:pt idx="444" formatCode="0.000%">
                  <c:v>0.99869117156209752</c:v>
                </c:pt>
                <c:pt idx="445">
                  <c:v>0.99930686130890467</c:v>
                </c:pt>
                <c:pt idx="446">
                  <c:v>0.99979339736933526</c:v>
                </c:pt>
                <c:pt idx="447">
                  <c:v>0.99953641120261305</c:v>
                </c:pt>
                <c:pt idx="448">
                  <c:v>0.99983899829402823</c:v>
                </c:pt>
                <c:pt idx="449">
                  <c:v>0.99871604268655489</c:v>
                </c:pt>
                <c:pt idx="450">
                  <c:v>0.99941988237403567</c:v>
                </c:pt>
                <c:pt idx="451">
                  <c:v>0.99936541932453182</c:v>
                </c:pt>
                <c:pt idx="452">
                  <c:v>0.99870416728477229</c:v>
                </c:pt>
                <c:pt idx="453">
                  <c:v>0.99820053280915999</c:v>
                </c:pt>
                <c:pt idx="454">
                  <c:v>0.9997706896232198</c:v>
                </c:pt>
                <c:pt idx="455">
                  <c:v>0.9990523630272431</c:v>
                </c:pt>
                <c:pt idx="456">
                  <c:v>0.99987711238440746</c:v>
                </c:pt>
                <c:pt idx="457">
                  <c:v>0.99957440939771203</c:v>
                </c:pt>
                <c:pt idx="458">
                  <c:v>0.9993952739455022</c:v>
                </c:pt>
                <c:pt idx="459">
                  <c:v>0.99906159601688904</c:v>
                </c:pt>
                <c:pt idx="460">
                  <c:v>0.99942957121839626</c:v>
                </c:pt>
                <c:pt idx="461">
                  <c:v>0.99940187997580821</c:v>
                </c:pt>
                <c:pt idx="462">
                  <c:v>0.99957031443160338</c:v>
                </c:pt>
                <c:pt idx="463">
                  <c:v>0.99900835373088248</c:v>
                </c:pt>
                <c:pt idx="464">
                  <c:v>0.99929134679572174</c:v>
                </c:pt>
                <c:pt idx="465">
                  <c:v>0.99938697584434799</c:v>
                </c:pt>
                <c:pt idx="466">
                  <c:v>0.99948398018344053</c:v>
                </c:pt>
                <c:pt idx="467">
                  <c:v>0.99989850665084967</c:v>
                </c:pt>
                <c:pt idx="468">
                  <c:v>0.99961486457249848</c:v>
                </c:pt>
                <c:pt idx="469">
                  <c:v>0.99983253906443392</c:v>
                </c:pt>
                <c:pt idx="470">
                  <c:v>0.99949031579144043</c:v>
                </c:pt>
                <c:pt idx="471">
                  <c:v>0.99809112767639974</c:v>
                </c:pt>
                <c:pt idx="472">
                  <c:v>0.99124663903729704</c:v>
                </c:pt>
                <c:pt idx="473">
                  <c:v>0.99915300647778305</c:v>
                </c:pt>
                <c:pt idx="474">
                  <c:v>0.99898430159968188</c:v>
                </c:pt>
                <c:pt idx="475">
                  <c:v>0.9997992075854143</c:v>
                </c:pt>
                <c:pt idx="476" formatCode="0.000%">
                  <c:v>0.9998411153142619</c:v>
                </c:pt>
                <c:pt idx="477" formatCode="0.000%">
                  <c:v>0.99877004215496679</c:v>
                </c:pt>
                <c:pt idx="478" formatCode="0.000%">
                  <c:v>0.99948128368687827</c:v>
                </c:pt>
                <c:pt idx="479" formatCode="0.000%">
                  <c:v>0.99917448573409362</c:v>
                </c:pt>
                <c:pt idx="480" formatCode="0.000%">
                  <c:v>0.99943792340405713</c:v>
                </c:pt>
                <c:pt idx="481" formatCode="0.000%">
                  <c:v>0.99953323567224317</c:v>
                </c:pt>
                <c:pt idx="482" formatCode="0.000%">
                  <c:v>0.99976337276861849</c:v>
                </c:pt>
                <c:pt idx="483" formatCode="0.000%">
                  <c:v>0.99979216115313851</c:v>
                </c:pt>
                <c:pt idx="484" formatCode="0.000%">
                  <c:v>0.99930130606242085</c:v>
                </c:pt>
                <c:pt idx="485" formatCode="0.000%">
                  <c:v>0.99970870110764209</c:v>
                </c:pt>
                <c:pt idx="486" formatCode="0.000%">
                  <c:v>0.9992470052662813</c:v>
                </c:pt>
                <c:pt idx="487" formatCode="0.000%">
                  <c:v>0.9998582523612215</c:v>
                </c:pt>
                <c:pt idx="488" formatCode="0.000%">
                  <c:v>0.99944441353904401</c:v>
                </c:pt>
                <c:pt idx="489" formatCode="0.000%">
                  <c:v>0.99943795430943994</c:v>
                </c:pt>
                <c:pt idx="490" formatCode="0.000%">
                  <c:v>0.99965824803442715</c:v>
                </c:pt>
                <c:pt idx="491" formatCode="0.000%">
                  <c:v>0.99974836819462753</c:v>
                </c:pt>
                <c:pt idx="492" formatCode="0.000%">
                  <c:v>0.99931791771744516</c:v>
                </c:pt>
                <c:pt idx="493" formatCode="0.000%">
                  <c:v>0.99960118120454844</c:v>
                </c:pt>
                <c:pt idx="494" formatCode="0.000%">
                  <c:v>0.99960828944764824</c:v>
                </c:pt>
                <c:pt idx="495" formatCode="0.000%">
                  <c:v>0.99935960910843813</c:v>
                </c:pt>
                <c:pt idx="496" formatCode="0.000%">
                  <c:v>0.99981563380801541</c:v>
                </c:pt>
                <c:pt idx="497" formatCode="0.000%">
                  <c:v>0.9998804424417741</c:v>
                </c:pt>
                <c:pt idx="498" formatCode="0.000%">
                  <c:v>0.99976151844434757</c:v>
                </c:pt>
                <c:pt idx="499" formatCode="0.000%">
                  <c:v>0.99994297952826827</c:v>
                </c:pt>
                <c:pt idx="500" formatCode="0.000%">
                  <c:v>0.99981311501754289</c:v>
                </c:pt>
                <c:pt idx="501" formatCode="0.000%">
                  <c:v>0.99974799732977149</c:v>
                </c:pt>
                <c:pt idx="502" formatCode="0.000%">
                  <c:v>0.99929687113682442</c:v>
                </c:pt>
                <c:pt idx="503" formatCode="0.000%">
                  <c:v>0.9993400923453597</c:v>
                </c:pt>
                <c:pt idx="504">
                  <c:v>0.99991917739680503</c:v>
                </c:pt>
                <c:pt idx="505" formatCode="0.000%">
                  <c:v>0.99984762309510222</c:v>
                </c:pt>
                <c:pt idx="506" formatCode="0.000%">
                  <c:v>0.9999321831597191</c:v>
                </c:pt>
                <c:pt idx="507" formatCode="0.000%">
                  <c:v>0.99992294499903289</c:v>
                </c:pt>
                <c:pt idx="508" formatCode="0.000%">
                  <c:v>0.99984670380015928</c:v>
                </c:pt>
                <c:pt idx="509" formatCode="0.000%">
                  <c:v>0.99971078378182676</c:v>
                </c:pt>
                <c:pt idx="510" formatCode="0.000%">
                  <c:v>0.99921468098959088</c:v>
                </c:pt>
                <c:pt idx="511" formatCode="0.000%">
                  <c:v>0.99965423960746114</c:v>
                </c:pt>
                <c:pt idx="512" formatCode="0.000%">
                  <c:v>0.99956315405574026</c:v>
                </c:pt>
                <c:pt idx="513" formatCode="0.000%">
                  <c:v>0.99989851586613554</c:v>
                </c:pt>
                <c:pt idx="514" formatCode="0.000%">
                  <c:v>0.99988284264082006</c:v>
                </c:pt>
                <c:pt idx="515" formatCode="0.000%">
                  <c:v>0.99978233808352945</c:v>
                </c:pt>
                <c:pt idx="516" formatCode="0.000%">
                  <c:v>0.99961159035011826</c:v>
                </c:pt>
                <c:pt idx="517" formatCode="0.000%">
                  <c:v>0.99968379267941521</c:v>
                </c:pt>
                <c:pt idx="518" formatCode="0.000%">
                  <c:v>0.99974574713060826</c:v>
                </c:pt>
                <c:pt idx="519" formatCode="0.000%">
                  <c:v>0.9996081693672636</c:v>
                </c:pt>
                <c:pt idx="520" formatCode="0.000%">
                  <c:v>0.99980087468652334</c:v>
                </c:pt>
                <c:pt idx="521" formatCode="0.000%">
                  <c:v>0.99930412386670275</c:v>
                </c:pt>
                <c:pt idx="522" formatCode="0.000%">
                  <c:v>0.99856963734569604</c:v>
                </c:pt>
                <c:pt idx="523" formatCode="0.000%">
                  <c:v>0.9984508825231444</c:v>
                </c:pt>
                <c:pt idx="524" formatCode="0.000%">
                  <c:v>0.99908947603202591</c:v>
                </c:pt>
                <c:pt idx="525" formatCode="0.000%">
                  <c:v>0.99972924503279614</c:v>
                </c:pt>
                <c:pt idx="526" formatCode="0.000%">
                  <c:v>0.9980619454089682</c:v>
                </c:pt>
                <c:pt idx="527" formatCode="0.000%">
                  <c:v>0.99813874421297066</c:v>
                </c:pt>
                <c:pt idx="528" formatCode="0.000%">
                  <c:v>0.99905794873649256</c:v>
                </c:pt>
                <c:pt idx="529" formatCode="0.000%">
                  <c:v>0.99765918872969905</c:v>
                </c:pt>
                <c:pt idx="530" formatCode="0.000%">
                  <c:v>0.99827927577639264</c:v>
                </c:pt>
                <c:pt idx="531" formatCode="0.000%">
                  <c:v>0.99889136043596716</c:v>
                </c:pt>
                <c:pt idx="532">
                  <c:v>0.99328063211322615</c:v>
                </c:pt>
                <c:pt idx="533" formatCode="0.000%">
                  <c:v>0.99339898003476412</c:v>
                </c:pt>
                <c:pt idx="534" formatCode="0.000%">
                  <c:v>0.99391785421493262</c:v>
                </c:pt>
                <c:pt idx="535" formatCode="0.000%">
                  <c:v>0.99688750843942364</c:v>
                </c:pt>
                <c:pt idx="536" formatCode="0.000%">
                  <c:v>0.99473644868823874</c:v>
                </c:pt>
                <c:pt idx="537" formatCode="0.000%">
                  <c:v>0.99762056327161497</c:v>
                </c:pt>
                <c:pt idx="538" formatCode="0.000%">
                  <c:v>0.9981972324701095</c:v>
                </c:pt>
                <c:pt idx="539" formatCode="0.000%">
                  <c:v>0.99667189609857587</c:v>
                </c:pt>
                <c:pt idx="540" formatCode="0.000%">
                  <c:v>0.99627002857349112</c:v>
                </c:pt>
                <c:pt idx="541" formatCode="0.000%">
                  <c:v>0.99780609507617635</c:v>
                </c:pt>
                <c:pt idx="542" formatCode="0.000%">
                  <c:v>0.99857337480709896</c:v>
                </c:pt>
                <c:pt idx="543" formatCode="0.000%">
                  <c:v>0.99739812403548933</c:v>
                </c:pt>
                <c:pt idx="544" formatCode="0.000%">
                  <c:v>0.9954037211854162</c:v>
                </c:pt>
                <c:pt idx="545" formatCode="0.000%">
                  <c:v>0.99745932496622913</c:v>
                </c:pt>
                <c:pt idx="546" formatCode="0.000%">
                  <c:v>0.99812106662323197</c:v>
                </c:pt>
                <c:pt idx="547" formatCode="0.000%">
                  <c:v>0.99801494080343411</c:v>
                </c:pt>
                <c:pt idx="548" formatCode="0.000%">
                  <c:v>0.99801067587770831</c:v>
                </c:pt>
                <c:pt idx="549" formatCode="0.000%">
                  <c:v>0.99832854094331458</c:v>
                </c:pt>
                <c:pt idx="550" formatCode="0.000%">
                  <c:v>0.99757774823975376</c:v>
                </c:pt>
                <c:pt idx="551" formatCode="0.000%">
                  <c:v>0.99809397002798994</c:v>
                </c:pt>
                <c:pt idx="552" formatCode="0.000%">
                  <c:v>0.9987075165171575</c:v>
                </c:pt>
                <c:pt idx="553" formatCode="0.000%">
                  <c:v>0.99756933895155464</c:v>
                </c:pt>
                <c:pt idx="554" formatCode="0.000%">
                  <c:v>0.99503659095285946</c:v>
                </c:pt>
                <c:pt idx="555" formatCode="0.000%">
                  <c:v>0.99785528489098851</c:v>
                </c:pt>
                <c:pt idx="556" formatCode="0.000%">
                  <c:v>0.99817666136191485</c:v>
                </c:pt>
                <c:pt idx="557" formatCode="0.000%">
                  <c:v>0.99824746214314553</c:v>
                </c:pt>
                <c:pt idx="558" formatCode="0.000%">
                  <c:v>0.99771635079092869</c:v>
                </c:pt>
                <c:pt idx="559" formatCode="0.000%">
                  <c:v>0.99864165883004341</c:v>
                </c:pt>
                <c:pt idx="560" formatCode="0.000%">
                  <c:v>0.99869968534006504</c:v>
                </c:pt>
                <c:pt idx="561">
                  <c:v>0.99942132643711068</c:v>
                </c:pt>
                <c:pt idx="562" formatCode="0.000%">
                  <c:v>0.99850591965666047</c:v>
                </c:pt>
                <c:pt idx="563" formatCode="0.000%">
                  <c:v>0.99899206090856296</c:v>
                </c:pt>
                <c:pt idx="564" formatCode="0.000%">
                  <c:v>0.99932463469329491</c:v>
                </c:pt>
                <c:pt idx="565" formatCode="0.000%">
                  <c:v>0.99947573061342609</c:v>
                </c:pt>
                <c:pt idx="566" formatCode="0.000%">
                  <c:v>0.99956155659239698</c:v>
                </c:pt>
                <c:pt idx="567" formatCode="0.000%">
                  <c:v>0.99936971028646815</c:v>
                </c:pt>
                <c:pt idx="568" formatCode="0.000%">
                  <c:v>0.99847186053242842</c:v>
                </c:pt>
                <c:pt idx="569" formatCode="0.000%">
                  <c:v>0.99935286156926395</c:v>
                </c:pt>
                <c:pt idx="570" formatCode="0.000%">
                  <c:v>0.99925886742860826</c:v>
                </c:pt>
                <c:pt idx="571" formatCode="0.000%">
                  <c:v>0.99949913495853104</c:v>
                </c:pt>
                <c:pt idx="572" formatCode="0.000%">
                  <c:v>0.99950620298031367</c:v>
                </c:pt>
                <c:pt idx="573" formatCode="0.000%">
                  <c:v>0.99879816502701146</c:v>
                </c:pt>
                <c:pt idx="574" formatCode="0.000%">
                  <c:v>0.99852457682291629</c:v>
                </c:pt>
                <c:pt idx="575" formatCode="0.000%">
                  <c:v>0.99557510187599974</c:v>
                </c:pt>
                <c:pt idx="576" formatCode="0.000%">
                  <c:v>0.99801989896797261</c:v>
                </c:pt>
                <c:pt idx="577" formatCode="0.000%">
                  <c:v>0.99945630485627623</c:v>
                </c:pt>
                <c:pt idx="578" formatCode="0.000%">
                  <c:v>0.99822975441262918</c:v>
                </c:pt>
                <c:pt idx="579" formatCode="0.000%">
                  <c:v>0.99759700822242314</c:v>
                </c:pt>
                <c:pt idx="580" formatCode="0.000%">
                  <c:v>0.99939124590085271</c:v>
                </c:pt>
                <c:pt idx="581" formatCode="0.000%">
                  <c:v>0.99883902090568688</c:v>
                </c:pt>
                <c:pt idx="582" formatCode="0.000%">
                  <c:v>0.99928863148629909</c:v>
                </c:pt>
                <c:pt idx="583" formatCode="0.000%">
                  <c:v>0.99921902126736006</c:v>
                </c:pt>
                <c:pt idx="584" formatCode="0.000%">
                  <c:v>0.99903154538004435</c:v>
                </c:pt>
                <c:pt idx="585" formatCode="0.000%">
                  <c:v>0.99892067238138793</c:v>
                </c:pt>
                <c:pt idx="586" formatCode="0.000%">
                  <c:v>0.99912049093362987</c:v>
                </c:pt>
                <c:pt idx="587" formatCode="0.000%">
                  <c:v>0.99840735918211487</c:v>
                </c:pt>
                <c:pt idx="588" formatCode="0.000%">
                  <c:v>0.99899619020060493</c:v>
                </c:pt>
                <c:pt idx="589" formatCode="0.000%">
                  <c:v>0.99869922371067632</c:v>
                </c:pt>
                <c:pt idx="590">
                  <c:v>0.99684337506516008</c:v>
                </c:pt>
                <c:pt idx="591" formatCode="0.000%">
                  <c:v>0.99852735097450929</c:v>
                </c:pt>
                <c:pt idx="592" formatCode="0.000%">
                  <c:v>0.99843169073365567</c:v>
                </c:pt>
                <c:pt idx="593" formatCode="0.000%">
                  <c:v>0.99852683229004879</c:v>
                </c:pt>
                <c:pt idx="594" formatCode="0.000%">
                  <c:v>0.99833680110967038</c:v>
                </c:pt>
                <c:pt idx="595" formatCode="0.000%">
                  <c:v>0.99850214290793249</c:v>
                </c:pt>
                <c:pt idx="596" formatCode="0.000%">
                  <c:v>0.99914495601555708</c:v>
                </c:pt>
                <c:pt idx="597" formatCode="0.000%">
                  <c:v>0.99951642303315869</c:v>
                </c:pt>
                <c:pt idx="598" formatCode="0.000%">
                  <c:v>0.99891537143738351</c:v>
                </c:pt>
                <c:pt idx="599" formatCode="0.000%">
                  <c:v>0.99953848935360956</c:v>
                </c:pt>
                <c:pt idx="600" formatCode="0.000%">
                  <c:v>0.99886242115992752</c:v>
                </c:pt>
                <c:pt idx="601" formatCode="0.000%">
                  <c:v>0.99852766218521538</c:v>
                </c:pt>
                <c:pt idx="602" formatCode="0.000%">
                  <c:v>0.99934613150283236</c:v>
                </c:pt>
                <c:pt idx="603" formatCode="0.000%">
                  <c:v>0.99967401420304836</c:v>
                </c:pt>
                <c:pt idx="604" formatCode="0.000%">
                  <c:v>0.99979952103192082</c:v>
                </c:pt>
                <c:pt idx="605" formatCode="0.000%">
                  <c:v>0.99949041471050848</c:v>
                </c:pt>
                <c:pt idx="606" formatCode="0.000%">
                  <c:v>0.99935327452929723</c:v>
                </c:pt>
                <c:pt idx="607" formatCode="0.000%">
                  <c:v>0.9981739489970477</c:v>
                </c:pt>
                <c:pt idx="608" formatCode="0.000%">
                  <c:v>0.99927842094655628</c:v>
                </c:pt>
                <c:pt idx="609" formatCode="0.000%">
                  <c:v>0.99829554346278604</c:v>
                </c:pt>
                <c:pt idx="610" formatCode="0.000%">
                  <c:v>0.99881692511973574</c:v>
                </c:pt>
                <c:pt idx="611" formatCode="0.000%">
                  <c:v>0.99879539230332437</c:v>
                </c:pt>
                <c:pt idx="612" formatCode="0.000%">
                  <c:v>0.99936834601887004</c:v>
                </c:pt>
                <c:pt idx="613" formatCode="0.000%">
                  <c:v>0.99927931011997417</c:v>
                </c:pt>
                <c:pt idx="614" formatCode="0.000%">
                  <c:v>0.99957433786219274</c:v>
                </c:pt>
                <c:pt idx="615" formatCode="0.000%">
                  <c:v>0.99859304607105537</c:v>
                </c:pt>
                <c:pt idx="616" formatCode="0.000%">
                  <c:v>0.99959020960782041</c:v>
                </c:pt>
                <c:pt idx="617" formatCode="0.000%">
                  <c:v>0.99933569853464566</c:v>
                </c:pt>
                <c:pt idx="618">
                  <c:v>0.99789541542185023</c:v>
                </c:pt>
                <c:pt idx="619" formatCode="0.000%">
                  <c:v>0.99460771150468008</c:v>
                </c:pt>
                <c:pt idx="620" formatCode="0.000%">
                  <c:v>0.99864232109828988</c:v>
                </c:pt>
                <c:pt idx="621" formatCode="0.000%">
                  <c:v>0.99766178510459091</c:v>
                </c:pt>
                <c:pt idx="622" formatCode="0.000%">
                  <c:v>0.99866011938634958</c:v>
                </c:pt>
                <c:pt idx="623" formatCode="0.000%">
                  <c:v>0.99842807476168571</c:v>
                </c:pt>
                <c:pt idx="624" formatCode="0.000%">
                  <c:v>0.99767306278748602</c:v>
                </c:pt>
                <c:pt idx="625" formatCode="0.000%">
                  <c:v>0.99811723455210033</c:v>
                </c:pt>
                <c:pt idx="626" formatCode="0.000%">
                  <c:v>0.99809432351691296</c:v>
                </c:pt>
                <c:pt idx="627" formatCode="0.000%">
                  <c:v>0.9977382095603855</c:v>
                </c:pt>
                <c:pt idx="628" formatCode="0.000%">
                  <c:v>0.99685318561199066</c:v>
                </c:pt>
                <c:pt idx="629" formatCode="0.000%">
                  <c:v>0.99752984658794508</c:v>
                </c:pt>
                <c:pt idx="630" formatCode="0.000%">
                  <c:v>0.99742030042207275</c:v>
                </c:pt>
                <c:pt idx="631" formatCode="0.000%">
                  <c:v>0.99705449447528283</c:v>
                </c:pt>
                <c:pt idx="632" formatCode="0.000%">
                  <c:v>0.99811837565800088</c:v>
                </c:pt>
                <c:pt idx="633" formatCode="0.000%">
                  <c:v>0.99796629736330811</c:v>
                </c:pt>
                <c:pt idx="634" formatCode="0.000%">
                  <c:v>0.99779050777730816</c:v>
                </c:pt>
                <c:pt idx="635" formatCode="0.000%">
                  <c:v>0.99683578745199097</c:v>
                </c:pt>
                <c:pt idx="636" formatCode="0.000%">
                  <c:v>0.99572996692276228</c:v>
                </c:pt>
                <c:pt idx="637" formatCode="0.000%">
                  <c:v>0.99683264570587438</c:v>
                </c:pt>
                <c:pt idx="638" formatCode="0.000%">
                  <c:v>0.99563770036044252</c:v>
                </c:pt>
                <c:pt idx="639" formatCode="0.000%">
                  <c:v>0.99564379119833279</c:v>
                </c:pt>
                <c:pt idx="640" formatCode="0.000%">
                  <c:v>0.99789175499120808</c:v>
                </c:pt>
                <c:pt idx="641" formatCode="0.000%">
                  <c:v>0.99714290795279448</c:v>
                </c:pt>
                <c:pt idx="642" formatCode="0.000%">
                  <c:v>0.99769541067956857</c:v>
                </c:pt>
                <c:pt idx="643" formatCode="0.000%">
                  <c:v>0.99917609190497003</c:v>
                </c:pt>
                <c:pt idx="644" formatCode="0.000%">
                  <c:v>0.99789863126570433</c:v>
                </c:pt>
                <c:pt idx="645" formatCode="0.000%">
                  <c:v>0.9980597791293031</c:v>
                </c:pt>
                <c:pt idx="646" formatCode="0.000%">
                  <c:v>0.99872207454656936</c:v>
                </c:pt>
                <c:pt idx="647" formatCode="0.000%">
                  <c:v>0.9978111810594319</c:v>
                </c:pt>
                <c:pt idx="648" formatCode="0.000%">
                  <c:v>0.99782889043013767</c:v>
                </c:pt>
                <c:pt idx="649" formatCode="0.000%">
                  <c:v>0.99623466175841313</c:v>
                </c:pt>
                <c:pt idx="650" formatCode="0.000%">
                  <c:v>0.99667167567698334</c:v>
                </c:pt>
                <c:pt idx="651" formatCode="0.000%">
                  <c:v>0.99904153032673326</c:v>
                </c:pt>
                <c:pt idx="652" formatCode="0.000%">
                  <c:v>0.99852455007824781</c:v>
                </c:pt>
                <c:pt idx="653" formatCode="0.000%">
                  <c:v>0.9980734724000162</c:v>
                </c:pt>
                <c:pt idx="654" formatCode="0.000%">
                  <c:v>0.99714653874422243</c:v>
                </c:pt>
                <c:pt idx="655" formatCode="0.000%">
                  <c:v>0.99807699945464157</c:v>
                </c:pt>
                <c:pt idx="656" formatCode="0.000%">
                  <c:v>0.99811908699674823</c:v>
                </c:pt>
                <c:pt idx="657" formatCode="0.000%">
                  <c:v>0.9986143714136565</c:v>
                </c:pt>
                <c:pt idx="658" formatCode="0.000%">
                  <c:v>0.99629588134868308</c:v>
                </c:pt>
                <c:pt idx="659" formatCode="0.000%">
                  <c:v>0.99642891651251053</c:v>
                </c:pt>
                <c:pt idx="660" formatCode="0.000%">
                  <c:v>0.99807070114285723</c:v>
                </c:pt>
                <c:pt idx="661" formatCode="0.000%">
                  <c:v>0.99780218558828193</c:v>
                </c:pt>
                <c:pt idx="662" formatCode="0.000%">
                  <c:v>0.99571240574756881</c:v>
                </c:pt>
                <c:pt idx="663" formatCode="0.000%">
                  <c:v>0.99644314328733774</c:v>
                </c:pt>
                <c:pt idx="664" formatCode="0.000%">
                  <c:v>0.99674555116898045</c:v>
                </c:pt>
                <c:pt idx="665" formatCode="0.000%">
                  <c:v>0.99681413607910463</c:v>
                </c:pt>
                <c:pt idx="666" formatCode="0.000%">
                  <c:v>0.99808267534504169</c:v>
                </c:pt>
                <c:pt idx="667" formatCode="0.000%">
                  <c:v>0.99564287238581239</c:v>
                </c:pt>
                <c:pt idx="668" formatCode="0.000%">
                  <c:v>0.99709446282067993</c:v>
                </c:pt>
                <c:pt idx="669" formatCode="0.000%">
                  <c:v>0.99865367287901574</c:v>
                </c:pt>
                <c:pt idx="670" formatCode="0.000%">
                  <c:v>0.99767841264761958</c:v>
                </c:pt>
                <c:pt idx="671" formatCode="0.000%">
                  <c:v>0.99737622705931051</c:v>
                </c:pt>
                <c:pt idx="672" formatCode="0.000%">
                  <c:v>0.99649338158581158</c:v>
                </c:pt>
                <c:pt idx="673" formatCode="0.000%">
                  <c:v>0.99626893939393335</c:v>
                </c:pt>
                <c:pt idx="674" formatCode="0.000%">
                  <c:v>0.99921789787546378</c:v>
                </c:pt>
                <c:pt idx="675">
                  <c:v>0.99802578306540513</c:v>
                </c:pt>
                <c:pt idx="676" formatCode="0.000%">
                  <c:v>0.99835015353063083</c:v>
                </c:pt>
                <c:pt idx="677" formatCode="0.000%">
                  <c:v>0.99740719993361349</c:v>
                </c:pt>
                <c:pt idx="678" formatCode="0.000%">
                  <c:v>0.99791500687626911</c:v>
                </c:pt>
                <c:pt idx="679" formatCode="0.000%">
                  <c:v>0.99648896535779619</c:v>
                </c:pt>
                <c:pt idx="680" formatCode="0.000%">
                  <c:v>0.99774209228434252</c:v>
                </c:pt>
                <c:pt idx="681" formatCode="0.000%">
                  <c:v>0.9956619747948825</c:v>
                </c:pt>
                <c:pt idx="682" formatCode="0.000%">
                  <c:v>0.99474045027746449</c:v>
                </c:pt>
                <c:pt idx="683" formatCode="0.000%">
                  <c:v>0.99676628372929976</c:v>
                </c:pt>
                <c:pt idx="684" formatCode="0.000%">
                  <c:v>0.99734638047141277</c:v>
                </c:pt>
                <c:pt idx="685" formatCode="0.000%">
                  <c:v>0.98646443899080216</c:v>
                </c:pt>
                <c:pt idx="686" formatCode="0.000%">
                  <c:v>0.99636657063591916</c:v>
                </c:pt>
                <c:pt idx="687" formatCode="0.000%">
                  <c:v>0.99751944325886077</c:v>
                </c:pt>
                <c:pt idx="688" formatCode="0.000%">
                  <c:v>0.99854587542089546</c:v>
                </c:pt>
                <c:pt idx="689" formatCode="0.000%">
                  <c:v>0.9976741594347236</c:v>
                </c:pt>
                <c:pt idx="690" formatCode="0.000%">
                  <c:v>0.99552055176168208</c:v>
                </c:pt>
                <c:pt idx="691" formatCode="0.000%">
                  <c:v>0.99639246040215035</c:v>
                </c:pt>
                <c:pt idx="692" formatCode="0.000%">
                  <c:v>0.99576393334755775</c:v>
                </c:pt>
                <c:pt idx="693" formatCode="0.000%">
                  <c:v>0.99811677514582609</c:v>
                </c:pt>
                <c:pt idx="694" formatCode="0.000%">
                  <c:v>0.99517893133210877</c:v>
                </c:pt>
                <c:pt idx="695" formatCode="0.000%">
                  <c:v>0.9953078762981874</c:v>
                </c:pt>
                <c:pt idx="696" formatCode="0.000%">
                  <c:v>0.99803717930479396</c:v>
                </c:pt>
                <c:pt idx="697" formatCode="0.000%">
                  <c:v>0.99917262412861485</c:v>
                </c:pt>
                <c:pt idx="698" formatCode="0.000%">
                  <c:v>0.99886662991415132</c:v>
                </c:pt>
                <c:pt idx="699" formatCode="0.000%">
                  <c:v>0.99814265009247805</c:v>
                </c:pt>
                <c:pt idx="700" formatCode="0.000%">
                  <c:v>0.99650623014177897</c:v>
                </c:pt>
                <c:pt idx="701" formatCode="0.000%">
                  <c:v>1</c:v>
                </c:pt>
                <c:pt idx="702" formatCode="0.000%">
                  <c:v>1</c:v>
                </c:pt>
                <c:pt idx="703" formatCode="0.000%">
                  <c:v>0.99871959026888601</c:v>
                </c:pt>
              </c:numCache>
            </c:numRef>
          </c:val>
          <c:smooth val="0"/>
        </c:ser>
        <c:dLbls>
          <c:showLegendKey val="0"/>
          <c:showVal val="0"/>
          <c:showCatName val="0"/>
          <c:showSerName val="0"/>
          <c:showPercent val="0"/>
          <c:showBubbleSize val="0"/>
        </c:dLbls>
        <c:smooth val="0"/>
        <c:axId val="218689520"/>
        <c:axId val="218689912"/>
      </c:lineChart>
      <c:dateAx>
        <c:axId val="21868952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8689912"/>
        <c:crosses val="autoZero"/>
        <c:auto val="1"/>
        <c:lblOffset val="100"/>
        <c:baseTimeUnit val="days"/>
      </c:dateAx>
      <c:valAx>
        <c:axId val="21868991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8689520"/>
        <c:crosses val="autoZero"/>
        <c:crossBetween val="between"/>
      </c:valAx>
      <c:spPr>
        <a:noFill/>
        <a:ln>
          <a:noFill/>
        </a:ln>
        <a:effectLst/>
      </c:spPr>
    </c:plotArea>
    <c:plotVisOnly val="1"/>
    <c:dispBlanksAs val="gap"/>
    <c:showDLblsOverMax val="0"/>
  </c:chart>
  <c:spPr>
    <a:noFill/>
    <a:ln w="15875">
      <a:solidFill>
        <a:srgbClr val="008732"/>
      </a:solidFill>
    </a:ln>
    <a:effectLst/>
  </c:spPr>
  <c:txPr>
    <a:bodyPr/>
    <a:lstStyle/>
    <a:p>
      <a:pPr>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3G Handover Success Rate</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231</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230:$K$230</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31:$K$231</c:f>
              <c:numCache>
                <c:formatCode>0.00%</c:formatCode>
                <c:ptCount val="9"/>
                <c:pt idx="0">
                  <c:v>1</c:v>
                </c:pt>
                <c:pt idx="1">
                  <c:v>1</c:v>
                </c:pt>
                <c:pt idx="2">
                  <c:v>0.99980000000000002</c:v>
                </c:pt>
                <c:pt idx="3">
                  <c:v>1</c:v>
                </c:pt>
                <c:pt idx="4">
                  <c:v>1</c:v>
                </c:pt>
                <c:pt idx="5">
                  <c:v>1</c:v>
                </c:pt>
                <c:pt idx="6">
                  <c:v>1</c:v>
                </c:pt>
                <c:pt idx="7">
                  <c:v>1</c:v>
                </c:pt>
                <c:pt idx="8">
                  <c:v>1</c:v>
                </c:pt>
              </c:numCache>
            </c:numRef>
          </c:val>
          <c:smooth val="0"/>
        </c:ser>
        <c:ser>
          <c:idx val="1"/>
          <c:order val="1"/>
          <c:tx>
            <c:strRef>
              <c:f>'H2 2015 Cluster Opt'!$B$232</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30:$K$230</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32:$K$232</c:f>
              <c:numCache>
                <c:formatCode>0.00%</c:formatCode>
                <c:ptCount val="9"/>
                <c:pt idx="0">
                  <c:v>1</c:v>
                </c:pt>
                <c:pt idx="1">
                  <c:v>1</c:v>
                </c:pt>
                <c:pt idx="2">
                  <c:v>1</c:v>
                </c:pt>
                <c:pt idx="3">
                  <c:v>1</c:v>
                </c:pt>
                <c:pt idx="4">
                  <c:v>1</c:v>
                </c:pt>
                <c:pt idx="5">
                  <c:v>1</c:v>
                </c:pt>
                <c:pt idx="6">
                  <c:v>1</c:v>
                </c:pt>
                <c:pt idx="7">
                  <c:v>1</c:v>
                </c:pt>
                <c:pt idx="8">
                  <c:v>1</c:v>
                </c:pt>
              </c:numCache>
            </c:numRef>
          </c:val>
          <c:smooth val="0"/>
        </c:ser>
        <c:dLbls>
          <c:showLegendKey val="0"/>
          <c:showVal val="0"/>
          <c:showCatName val="0"/>
          <c:showSerName val="0"/>
          <c:showPercent val="0"/>
          <c:showBubbleSize val="0"/>
        </c:dLbls>
        <c:marker val="1"/>
        <c:smooth val="0"/>
        <c:axId val="217186304"/>
        <c:axId val="217186696"/>
      </c:lineChart>
      <c:catAx>
        <c:axId val="217186304"/>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86696"/>
        <c:crosses val="autoZero"/>
        <c:auto val="1"/>
        <c:lblAlgn val="ctr"/>
        <c:lblOffset val="100"/>
        <c:noMultiLvlLbl val="0"/>
      </c:catAx>
      <c:valAx>
        <c:axId val="21718669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86304"/>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2G Call Drop Rate</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114</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113:$K$113</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14:$K$114</c:f>
              <c:numCache>
                <c:formatCode>General</c:formatCode>
                <c:ptCount val="9"/>
                <c:pt idx="0">
                  <c:v>0.78</c:v>
                </c:pt>
                <c:pt idx="1">
                  <c:v>0</c:v>
                </c:pt>
                <c:pt idx="2">
                  <c:v>0</c:v>
                </c:pt>
                <c:pt idx="3">
                  <c:v>1.82</c:v>
                </c:pt>
                <c:pt idx="4">
                  <c:v>0.77000000000000013</c:v>
                </c:pt>
                <c:pt idx="5">
                  <c:v>1.73</c:v>
                </c:pt>
                <c:pt idx="6">
                  <c:v>0</c:v>
                </c:pt>
                <c:pt idx="7">
                  <c:v>0</c:v>
                </c:pt>
                <c:pt idx="8">
                  <c:v>0</c:v>
                </c:pt>
              </c:numCache>
            </c:numRef>
          </c:val>
          <c:smooth val="0"/>
        </c:ser>
        <c:ser>
          <c:idx val="1"/>
          <c:order val="1"/>
          <c:tx>
            <c:strRef>
              <c:f>'H2 2015 Cluster Opt'!$B$115</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113:$K$113</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15:$K$115</c:f>
              <c:numCache>
                <c:formatCode>General</c:formatCode>
                <c:ptCount val="9"/>
                <c:pt idx="0">
                  <c:v>0</c:v>
                </c:pt>
                <c:pt idx="1">
                  <c:v>0</c:v>
                </c:pt>
                <c:pt idx="2">
                  <c:v>0</c:v>
                </c:pt>
                <c:pt idx="3">
                  <c:v>0</c:v>
                </c:pt>
                <c:pt idx="4">
                  <c:v>0.51</c:v>
                </c:pt>
                <c:pt idx="5">
                  <c:v>0.58000000000000007</c:v>
                </c:pt>
                <c:pt idx="6">
                  <c:v>0</c:v>
                </c:pt>
                <c:pt idx="7">
                  <c:v>0</c:v>
                </c:pt>
                <c:pt idx="8">
                  <c:v>0</c:v>
                </c:pt>
              </c:numCache>
            </c:numRef>
          </c:val>
          <c:smooth val="0"/>
        </c:ser>
        <c:dLbls>
          <c:showLegendKey val="0"/>
          <c:showVal val="0"/>
          <c:showCatName val="0"/>
          <c:showSerName val="0"/>
          <c:showPercent val="0"/>
          <c:showBubbleSize val="0"/>
        </c:dLbls>
        <c:marker val="1"/>
        <c:smooth val="0"/>
        <c:axId val="217187872"/>
        <c:axId val="217188264"/>
      </c:lineChart>
      <c:catAx>
        <c:axId val="217187872"/>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88264"/>
        <c:crosses val="autoZero"/>
        <c:auto val="1"/>
        <c:lblAlgn val="ctr"/>
        <c:lblOffset val="100"/>
        <c:noMultiLvlLbl val="0"/>
      </c:catAx>
      <c:valAx>
        <c:axId val="2171882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87872"/>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800" b="0" i="0" baseline="0"/>
              <a:t>3G Call Drop Rate</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259</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258:$K$258</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59:$K$259</c:f>
              <c:numCache>
                <c:formatCode>0.00%</c:formatCode>
                <c:ptCount val="9"/>
                <c:pt idx="0">
                  <c:v>0</c:v>
                </c:pt>
                <c:pt idx="1">
                  <c:v>0</c:v>
                </c:pt>
                <c:pt idx="2">
                  <c:v>0</c:v>
                </c:pt>
                <c:pt idx="3">
                  <c:v>0</c:v>
                </c:pt>
                <c:pt idx="4">
                  <c:v>9.8000000000000032E-3</c:v>
                </c:pt>
                <c:pt idx="5">
                  <c:v>2.8199999999999996E-2</c:v>
                </c:pt>
                <c:pt idx="6">
                  <c:v>0</c:v>
                </c:pt>
                <c:pt idx="7">
                  <c:v>0</c:v>
                </c:pt>
                <c:pt idx="8">
                  <c:v>0</c:v>
                </c:pt>
              </c:numCache>
            </c:numRef>
          </c:val>
          <c:smooth val="0"/>
        </c:ser>
        <c:ser>
          <c:idx val="1"/>
          <c:order val="1"/>
          <c:tx>
            <c:strRef>
              <c:f>'H2 2015 Cluster Opt'!$B$260</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58:$K$258</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60:$K$260</c:f>
              <c:numCache>
                <c:formatCode>0.00%</c:formatCode>
                <c:ptCount val="9"/>
                <c:pt idx="0">
                  <c:v>0</c:v>
                </c:pt>
                <c:pt idx="1">
                  <c:v>0</c:v>
                </c:pt>
                <c:pt idx="2">
                  <c:v>0</c:v>
                </c:pt>
                <c:pt idx="3">
                  <c:v>0</c:v>
                </c:pt>
                <c:pt idx="4">
                  <c:v>0</c:v>
                </c:pt>
                <c:pt idx="5">
                  <c:v>0</c:v>
                </c:pt>
                <c:pt idx="6">
                  <c:v>0</c:v>
                </c:pt>
                <c:pt idx="7">
                  <c:v>0</c:v>
                </c:pt>
                <c:pt idx="8">
                  <c:v>0</c:v>
                </c:pt>
              </c:numCache>
            </c:numRef>
          </c:val>
          <c:smooth val="0"/>
        </c:ser>
        <c:dLbls>
          <c:showLegendKey val="0"/>
          <c:showVal val="0"/>
          <c:showCatName val="0"/>
          <c:showSerName val="0"/>
          <c:showPercent val="0"/>
          <c:showBubbleSize val="0"/>
        </c:dLbls>
        <c:marker val="1"/>
        <c:smooth val="0"/>
        <c:axId val="217189440"/>
        <c:axId val="217394608"/>
      </c:lineChart>
      <c:catAx>
        <c:axId val="217189440"/>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394608"/>
        <c:crosses val="autoZero"/>
        <c:auto val="1"/>
        <c:lblAlgn val="ctr"/>
        <c:lblOffset val="100"/>
        <c:noMultiLvlLbl val="0"/>
      </c:catAx>
      <c:valAx>
        <c:axId val="21739460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89440"/>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800" b="0" i="0" baseline="0"/>
              <a:t>HSDPA Throughput "&gt; 1Mbps"</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287</c:f>
              <c:strCache>
                <c:ptCount val="1"/>
                <c:pt idx="0">
                  <c:v>Befor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H2 2015 Cluster Opt'!$C$286:$K$286</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87:$K$287</c:f>
              <c:numCache>
                <c:formatCode>0.00%</c:formatCode>
                <c:ptCount val="9"/>
                <c:pt idx="0">
                  <c:v>0.9658000000000001</c:v>
                </c:pt>
                <c:pt idx="1">
                  <c:v>0.96840000000000004</c:v>
                </c:pt>
                <c:pt idx="2">
                  <c:v>0.94750000000000001</c:v>
                </c:pt>
                <c:pt idx="3">
                  <c:v>0.98480000000000001</c:v>
                </c:pt>
                <c:pt idx="4">
                  <c:v>0.94550000000000001</c:v>
                </c:pt>
                <c:pt idx="5">
                  <c:v>0.92290000000000005</c:v>
                </c:pt>
                <c:pt idx="6">
                  <c:v>0.9325</c:v>
                </c:pt>
                <c:pt idx="7">
                  <c:v>0.9022</c:v>
                </c:pt>
                <c:pt idx="8">
                  <c:v>0.97750000000000004</c:v>
                </c:pt>
              </c:numCache>
            </c:numRef>
          </c:val>
          <c:smooth val="0"/>
        </c:ser>
        <c:ser>
          <c:idx val="1"/>
          <c:order val="1"/>
          <c:tx>
            <c:strRef>
              <c:f>'H2 2015 Cluster Opt'!$B$288</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86:$K$286</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88:$K$288</c:f>
              <c:numCache>
                <c:formatCode>0.00%</c:formatCode>
                <c:ptCount val="9"/>
                <c:pt idx="0">
                  <c:v>0.9658000000000001</c:v>
                </c:pt>
                <c:pt idx="1">
                  <c:v>0.96840000000000004</c:v>
                </c:pt>
                <c:pt idx="2">
                  <c:v>0.95380000000000009</c:v>
                </c:pt>
                <c:pt idx="3">
                  <c:v>0.99109999999999998</c:v>
                </c:pt>
                <c:pt idx="4">
                  <c:v>0.94910000000000005</c:v>
                </c:pt>
                <c:pt idx="5">
                  <c:v>0.9658000000000001</c:v>
                </c:pt>
                <c:pt idx="6">
                  <c:v>0.93910000000000005</c:v>
                </c:pt>
                <c:pt idx="7">
                  <c:v>0.96350000000000002</c:v>
                </c:pt>
                <c:pt idx="8">
                  <c:v>0.97650000000000003</c:v>
                </c:pt>
              </c:numCache>
            </c:numRef>
          </c:val>
          <c:smooth val="0"/>
        </c:ser>
        <c:dLbls>
          <c:showLegendKey val="0"/>
          <c:showVal val="0"/>
          <c:showCatName val="0"/>
          <c:showSerName val="0"/>
          <c:showPercent val="0"/>
          <c:showBubbleSize val="0"/>
        </c:dLbls>
        <c:marker val="1"/>
        <c:smooth val="0"/>
        <c:axId val="217395784"/>
        <c:axId val="217396176"/>
      </c:lineChart>
      <c:lineChart>
        <c:grouping val="standard"/>
        <c:varyColors val="0"/>
        <c:ser>
          <c:idx val="2"/>
          <c:order val="2"/>
          <c:tx>
            <c:strRef>
              <c:f>'H2 2015 Cluster Opt'!$B$289</c:f>
              <c:strCache>
                <c:ptCount val="1"/>
                <c:pt idx="0">
                  <c:v>Average (kbps)</c:v>
                </c:pt>
              </c:strCache>
            </c:strRef>
          </c:tx>
          <c:spPr>
            <a:ln>
              <a:solidFill>
                <a:schemeClr val="accent6">
                  <a:lumMod val="60000"/>
                  <a:lumOff val="40000"/>
                </a:schemeClr>
              </a:solidFill>
            </a:ln>
          </c:spPr>
          <c:marker>
            <c:spPr>
              <a:solidFill>
                <a:schemeClr val="accent6">
                  <a:lumMod val="60000"/>
                  <a:lumOff val="40000"/>
                </a:schemeClr>
              </a:solidFill>
              <a:ln>
                <a:solidFill>
                  <a:schemeClr val="accent6">
                    <a:lumMod val="60000"/>
                    <a:lumOff val="40000"/>
                  </a:schemeClr>
                </a:solidFill>
              </a:ln>
            </c:spPr>
          </c:marker>
          <c:cat>
            <c:strRef>
              <c:f>'H2 2015 Cluster Opt'!$C$286:$K$286</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89:$K$289</c:f>
              <c:numCache>
                <c:formatCode>0</c:formatCode>
                <c:ptCount val="9"/>
                <c:pt idx="0">
                  <c:v>5964</c:v>
                </c:pt>
                <c:pt idx="1">
                  <c:v>7255</c:v>
                </c:pt>
                <c:pt idx="2">
                  <c:v>5164</c:v>
                </c:pt>
                <c:pt idx="3">
                  <c:v>6880</c:v>
                </c:pt>
                <c:pt idx="4">
                  <c:v>6388</c:v>
                </c:pt>
                <c:pt idx="5">
                  <c:v>6249</c:v>
                </c:pt>
                <c:pt idx="6">
                  <c:v>5881</c:v>
                </c:pt>
                <c:pt idx="7">
                  <c:v>5522</c:v>
                </c:pt>
                <c:pt idx="8">
                  <c:v>8553</c:v>
                </c:pt>
              </c:numCache>
            </c:numRef>
          </c:val>
          <c:smooth val="0"/>
        </c:ser>
        <c:dLbls>
          <c:showLegendKey val="0"/>
          <c:showVal val="0"/>
          <c:showCatName val="0"/>
          <c:showSerName val="0"/>
          <c:showPercent val="0"/>
          <c:showBubbleSize val="0"/>
        </c:dLbls>
        <c:marker val="1"/>
        <c:smooth val="0"/>
        <c:axId val="217396960"/>
        <c:axId val="217396568"/>
      </c:lineChart>
      <c:catAx>
        <c:axId val="217395784"/>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396176"/>
        <c:crosses val="autoZero"/>
        <c:auto val="1"/>
        <c:lblAlgn val="ctr"/>
        <c:lblOffset val="100"/>
        <c:noMultiLvlLbl val="0"/>
      </c:catAx>
      <c:valAx>
        <c:axId val="21739617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395784"/>
        <c:crosses val="autoZero"/>
        <c:crossBetween val="between"/>
      </c:valAx>
      <c:valAx>
        <c:axId val="217396568"/>
        <c:scaling>
          <c:orientation val="minMax"/>
        </c:scaling>
        <c:delete val="0"/>
        <c:axPos val="r"/>
        <c:numFmt formatCode="0" sourceLinked="1"/>
        <c:majorTickMark val="out"/>
        <c:minorTickMark val="none"/>
        <c:tickLblPos val="nextTo"/>
        <c:crossAx val="217396960"/>
        <c:crosses val="max"/>
        <c:crossBetween val="between"/>
      </c:valAx>
      <c:catAx>
        <c:axId val="217396960"/>
        <c:scaling>
          <c:orientation val="minMax"/>
        </c:scaling>
        <c:delete val="1"/>
        <c:axPos val="b"/>
        <c:numFmt formatCode="General" sourceLinked="1"/>
        <c:majorTickMark val="out"/>
        <c:minorTickMark val="none"/>
        <c:tickLblPos val="none"/>
        <c:crossAx val="217396568"/>
        <c:crosses val="autoZero"/>
        <c:auto val="1"/>
        <c:lblAlgn val="ctr"/>
        <c:lblOffset val="100"/>
        <c:noMultiLvlLbl val="0"/>
      </c:cat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dirty="0"/>
              <a:t>3G Handover Success Rate</a:t>
            </a:r>
            <a:endParaRPr lang="zh-CN" sz="1800" b="0" i="0" baseline="0" dirty="0"/>
          </a:p>
        </c:rich>
      </c:tx>
      <c:overlay val="0"/>
      <c:spPr>
        <a:noFill/>
        <a:ln>
          <a:noFill/>
        </a:ln>
        <a:effectLst/>
      </c:spPr>
    </c:title>
    <c:autoTitleDeleted val="0"/>
    <c:plotArea>
      <c:layout/>
      <c:lineChart>
        <c:grouping val="standard"/>
        <c:varyColors val="0"/>
        <c:ser>
          <c:idx val="0"/>
          <c:order val="0"/>
          <c:tx>
            <c:strRef>
              <c:f>'H2 2015 Cluster Opt'!$B$231</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230:$K$230</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31:$K$231</c:f>
              <c:numCache>
                <c:formatCode>0.00%</c:formatCode>
                <c:ptCount val="9"/>
                <c:pt idx="0">
                  <c:v>1</c:v>
                </c:pt>
                <c:pt idx="1">
                  <c:v>1</c:v>
                </c:pt>
                <c:pt idx="2">
                  <c:v>0.99980000000000002</c:v>
                </c:pt>
                <c:pt idx="3">
                  <c:v>1</c:v>
                </c:pt>
                <c:pt idx="4">
                  <c:v>1</c:v>
                </c:pt>
                <c:pt idx="5">
                  <c:v>1</c:v>
                </c:pt>
                <c:pt idx="6">
                  <c:v>1</c:v>
                </c:pt>
                <c:pt idx="7">
                  <c:v>1</c:v>
                </c:pt>
                <c:pt idx="8">
                  <c:v>1</c:v>
                </c:pt>
              </c:numCache>
            </c:numRef>
          </c:val>
          <c:smooth val="0"/>
        </c:ser>
        <c:ser>
          <c:idx val="1"/>
          <c:order val="1"/>
          <c:tx>
            <c:strRef>
              <c:f>'H2 2015 Cluster Opt'!$B$232</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30:$K$230</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32:$K$232</c:f>
              <c:numCache>
                <c:formatCode>0.00%</c:formatCode>
                <c:ptCount val="9"/>
                <c:pt idx="0">
                  <c:v>1</c:v>
                </c:pt>
                <c:pt idx="1">
                  <c:v>1</c:v>
                </c:pt>
                <c:pt idx="2">
                  <c:v>1</c:v>
                </c:pt>
                <c:pt idx="3">
                  <c:v>1</c:v>
                </c:pt>
                <c:pt idx="4">
                  <c:v>1</c:v>
                </c:pt>
                <c:pt idx="5">
                  <c:v>1</c:v>
                </c:pt>
                <c:pt idx="6">
                  <c:v>1</c:v>
                </c:pt>
                <c:pt idx="7">
                  <c:v>1</c:v>
                </c:pt>
                <c:pt idx="8">
                  <c:v>1</c:v>
                </c:pt>
              </c:numCache>
            </c:numRef>
          </c:val>
          <c:smooth val="0"/>
        </c:ser>
        <c:dLbls>
          <c:showLegendKey val="0"/>
          <c:showVal val="0"/>
          <c:showCatName val="0"/>
          <c:showSerName val="0"/>
          <c:showPercent val="0"/>
          <c:showBubbleSize val="0"/>
        </c:dLbls>
        <c:marker val="1"/>
        <c:smooth val="0"/>
        <c:axId val="217398136"/>
        <c:axId val="193415736"/>
      </c:lineChart>
      <c:catAx>
        <c:axId val="217398136"/>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415736"/>
        <c:crosses val="autoZero"/>
        <c:auto val="1"/>
        <c:lblAlgn val="ctr"/>
        <c:lblOffset val="100"/>
        <c:noMultiLvlLbl val="0"/>
      </c:catAx>
      <c:valAx>
        <c:axId val="19341573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398136"/>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altLang="zh-CN" sz="1200" b="1" i="0" baseline="0"/>
              <a:t>GSM auto RxQual Comparison</a:t>
            </a:r>
            <a:endParaRPr lang="zh-CN" sz="1200" b="1" i="0" baseline="0"/>
          </a:p>
        </c:rich>
      </c:tx>
      <c:overlay val="0"/>
      <c:spPr>
        <a:noFill/>
        <a:ln>
          <a:noFill/>
        </a:ln>
        <a:effectLst/>
      </c:spPr>
    </c:title>
    <c:autoTitleDeleted val="0"/>
    <c:plotArea>
      <c:layout/>
      <c:barChart>
        <c:barDir val="col"/>
        <c:grouping val="clustered"/>
        <c:varyColors val="0"/>
        <c:ser>
          <c:idx val="0"/>
          <c:order val="0"/>
          <c:tx>
            <c:strRef>
              <c:f>'IFOS DT_13082015'!$L$4</c:f>
              <c:strCache>
                <c:ptCount val="1"/>
                <c:pt idx="0">
                  <c:v>Pre</c:v>
                </c:pt>
              </c:strCache>
            </c:strRef>
          </c:tx>
          <c:spPr>
            <a:solidFill>
              <a:srgbClr val="FFC000"/>
            </a:solidFill>
            <a:ln w="28575" cap="rnd">
              <a:solidFill>
                <a:srgbClr val="FFC000"/>
              </a:solidFill>
              <a:round/>
            </a:ln>
            <a:effectLst/>
          </c:spPr>
          <c:invertIfNegative val="0"/>
          <c:cat>
            <c:strRef>
              <c:f>'IFOS DT_13082015'!$M$3:$S$3</c:f>
              <c:strCache>
                <c:ptCount val="7"/>
                <c:pt idx="0">
                  <c:v>0,1</c:v>
                </c:pt>
                <c:pt idx="1">
                  <c:v>1,2</c:v>
                </c:pt>
                <c:pt idx="2">
                  <c:v>2,3</c:v>
                </c:pt>
                <c:pt idx="3">
                  <c:v>3,4</c:v>
                </c:pt>
                <c:pt idx="4">
                  <c:v>4,5</c:v>
                </c:pt>
                <c:pt idx="5">
                  <c:v>5,6</c:v>
                </c:pt>
                <c:pt idx="6">
                  <c:v>6,7</c:v>
                </c:pt>
              </c:strCache>
            </c:strRef>
          </c:cat>
          <c:val>
            <c:numRef>
              <c:f>'IFOS DT_13082015'!$M$4:$S$4</c:f>
              <c:numCache>
                <c:formatCode>0.00%</c:formatCode>
                <c:ptCount val="7"/>
                <c:pt idx="0">
                  <c:v>0.70490000000000064</c:v>
                </c:pt>
                <c:pt idx="1">
                  <c:v>6.1499999999999999E-2</c:v>
                </c:pt>
                <c:pt idx="2">
                  <c:v>4.4500000000000033E-2</c:v>
                </c:pt>
                <c:pt idx="3">
                  <c:v>5.8599999999999999E-2</c:v>
                </c:pt>
                <c:pt idx="4">
                  <c:v>5.5600000000000004E-2</c:v>
                </c:pt>
                <c:pt idx="5">
                  <c:v>4.5100000000000001E-2</c:v>
                </c:pt>
                <c:pt idx="6">
                  <c:v>2.9899999999999999E-2</c:v>
                </c:pt>
              </c:numCache>
            </c:numRef>
          </c:val>
        </c:ser>
        <c:ser>
          <c:idx val="1"/>
          <c:order val="1"/>
          <c:tx>
            <c:strRef>
              <c:f>'IFOS DT_13082015'!$L$5</c:f>
              <c:strCache>
                <c:ptCount val="1"/>
                <c:pt idx="0">
                  <c:v>Post</c:v>
                </c:pt>
              </c:strCache>
            </c:strRef>
          </c:tx>
          <c:invertIfNegative val="0"/>
          <c:cat>
            <c:strRef>
              <c:f>'IFOS DT_13082015'!$M$3:$S$3</c:f>
              <c:strCache>
                <c:ptCount val="7"/>
                <c:pt idx="0">
                  <c:v>0,1</c:v>
                </c:pt>
                <c:pt idx="1">
                  <c:v>1,2</c:v>
                </c:pt>
                <c:pt idx="2">
                  <c:v>2,3</c:v>
                </c:pt>
                <c:pt idx="3">
                  <c:v>3,4</c:v>
                </c:pt>
                <c:pt idx="4">
                  <c:v>4,5</c:v>
                </c:pt>
                <c:pt idx="5">
                  <c:v>5,6</c:v>
                </c:pt>
                <c:pt idx="6">
                  <c:v>6,7</c:v>
                </c:pt>
              </c:strCache>
            </c:strRef>
          </c:cat>
          <c:val>
            <c:numRef>
              <c:f>'IFOS DT_13082015'!$M$5:$S$5</c:f>
              <c:numCache>
                <c:formatCode>0.00%</c:formatCode>
                <c:ptCount val="7"/>
                <c:pt idx="0">
                  <c:v>0.85250000000000004</c:v>
                </c:pt>
                <c:pt idx="1">
                  <c:v>2.2700000000000001E-2</c:v>
                </c:pt>
                <c:pt idx="2">
                  <c:v>1.9300000000000036E-2</c:v>
                </c:pt>
                <c:pt idx="3">
                  <c:v>2.41E-2</c:v>
                </c:pt>
                <c:pt idx="4">
                  <c:v>2.8500000000000001E-2</c:v>
                </c:pt>
                <c:pt idx="5" formatCode="0%">
                  <c:v>2.2900000000000011E-2</c:v>
                </c:pt>
                <c:pt idx="6" formatCode="0%">
                  <c:v>3.0100000000000002E-2</c:v>
                </c:pt>
              </c:numCache>
            </c:numRef>
          </c:val>
        </c:ser>
        <c:dLbls>
          <c:showLegendKey val="0"/>
          <c:showVal val="0"/>
          <c:showCatName val="0"/>
          <c:showSerName val="0"/>
          <c:showPercent val="0"/>
          <c:showBubbleSize val="0"/>
        </c:dLbls>
        <c:gapWidth val="150"/>
        <c:axId val="193417696"/>
        <c:axId val="193418088"/>
      </c:barChart>
      <c:catAx>
        <c:axId val="193417696"/>
        <c:scaling>
          <c:orientation val="minMax"/>
        </c:scaling>
        <c:delete val="0"/>
        <c:axPos val="b"/>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418088"/>
        <c:crosses val="autoZero"/>
        <c:auto val="1"/>
        <c:lblAlgn val="ctr"/>
        <c:lblOffset val="100"/>
        <c:noMultiLvlLbl val="0"/>
      </c:catAx>
      <c:valAx>
        <c:axId val="193418088"/>
        <c:scaling>
          <c:orientation val="minMax"/>
        </c:scaling>
        <c:delete val="0"/>
        <c:axPos val="l"/>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417696"/>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400" b="1" i="0" baseline="0"/>
              <a:t>Ec/Io Comparison</a:t>
            </a:r>
            <a:endParaRPr lang="zh-CN" sz="1400" b="1" i="0" baseline="0"/>
          </a:p>
        </c:rich>
      </c:tx>
      <c:overlay val="0"/>
      <c:spPr>
        <a:noFill/>
        <a:ln>
          <a:noFill/>
        </a:ln>
        <a:effectLst/>
      </c:spPr>
    </c:title>
    <c:autoTitleDeleted val="0"/>
    <c:plotArea>
      <c:layout/>
      <c:barChart>
        <c:barDir val="col"/>
        <c:grouping val="clustered"/>
        <c:varyColors val="0"/>
        <c:ser>
          <c:idx val="0"/>
          <c:order val="0"/>
          <c:tx>
            <c:strRef>
              <c:f>'H2 plots '!$B$29</c:f>
              <c:strCache>
                <c:ptCount val="1"/>
                <c:pt idx="0">
                  <c:v>Pre</c:v>
                </c:pt>
              </c:strCache>
            </c:strRef>
          </c:tx>
          <c:spPr>
            <a:solidFill>
              <a:srgbClr val="FFFF00"/>
            </a:solidFill>
            <a:ln w="28575" cap="rnd">
              <a:solidFill>
                <a:schemeClr val="accent1"/>
              </a:solidFill>
              <a:round/>
            </a:ln>
            <a:effectLst/>
          </c:spPr>
          <c:invertIfNegative val="0"/>
          <c:cat>
            <c:strRef>
              <c:f>'H2 plots '!$C$28:$I$28</c:f>
              <c:strCache>
                <c:ptCount val="6"/>
                <c:pt idx="0">
                  <c:v>-8, 0</c:v>
                </c:pt>
                <c:pt idx="1">
                  <c:v>-10, -8</c:v>
                </c:pt>
                <c:pt idx="2">
                  <c:v>-12, -10</c:v>
                </c:pt>
                <c:pt idx="3">
                  <c:v>-14, -12</c:v>
                </c:pt>
                <c:pt idx="4">
                  <c:v>-18, -14</c:v>
                </c:pt>
                <c:pt idx="5">
                  <c:v>-50, -18</c:v>
                </c:pt>
              </c:strCache>
            </c:strRef>
          </c:cat>
          <c:val>
            <c:numRef>
              <c:f>'H2 plots '!$C$29:$I$29</c:f>
              <c:numCache>
                <c:formatCode>0.00%</c:formatCode>
                <c:ptCount val="7"/>
                <c:pt idx="0">
                  <c:v>0.15260000000000001</c:v>
                </c:pt>
                <c:pt idx="1">
                  <c:v>0.14830000000000004</c:v>
                </c:pt>
                <c:pt idx="2">
                  <c:v>0.1848000000000001</c:v>
                </c:pt>
                <c:pt idx="3">
                  <c:v>0.34400000000000008</c:v>
                </c:pt>
                <c:pt idx="4">
                  <c:v>0.16159999999999999</c:v>
                </c:pt>
                <c:pt idx="5">
                  <c:v>8.4000000000000047E-3</c:v>
                </c:pt>
              </c:numCache>
            </c:numRef>
          </c:val>
        </c:ser>
        <c:ser>
          <c:idx val="1"/>
          <c:order val="1"/>
          <c:tx>
            <c:strRef>
              <c:f>'H2 plots '!$B$30</c:f>
              <c:strCache>
                <c:ptCount val="1"/>
                <c:pt idx="0">
                  <c:v>Post</c:v>
                </c:pt>
              </c:strCache>
            </c:strRef>
          </c:tx>
          <c:spPr>
            <a:solidFill>
              <a:srgbClr val="92D050"/>
            </a:solidFill>
          </c:spPr>
          <c:invertIfNegative val="0"/>
          <c:cat>
            <c:strRef>
              <c:f>'H2 plots '!$C$28:$I$28</c:f>
              <c:strCache>
                <c:ptCount val="6"/>
                <c:pt idx="0">
                  <c:v>-8, 0</c:v>
                </c:pt>
                <c:pt idx="1">
                  <c:v>-10, -8</c:v>
                </c:pt>
                <c:pt idx="2">
                  <c:v>-12, -10</c:v>
                </c:pt>
                <c:pt idx="3">
                  <c:v>-14, -12</c:v>
                </c:pt>
                <c:pt idx="4">
                  <c:v>-18, -14</c:v>
                </c:pt>
                <c:pt idx="5">
                  <c:v>-50, -18</c:v>
                </c:pt>
              </c:strCache>
            </c:strRef>
          </c:cat>
          <c:val>
            <c:numRef>
              <c:f>'H2 plots '!$C$30:$I$30</c:f>
              <c:numCache>
                <c:formatCode>0.00%</c:formatCode>
                <c:ptCount val="7"/>
                <c:pt idx="0">
                  <c:v>0.15550000000000011</c:v>
                </c:pt>
                <c:pt idx="1">
                  <c:v>0.1983</c:v>
                </c:pt>
                <c:pt idx="2">
                  <c:v>0.23810000000000001</c:v>
                </c:pt>
                <c:pt idx="3">
                  <c:v>0.2707</c:v>
                </c:pt>
                <c:pt idx="4">
                  <c:v>0.1265</c:v>
                </c:pt>
                <c:pt idx="5">
                  <c:v>1.0999999999999998E-2</c:v>
                </c:pt>
              </c:numCache>
            </c:numRef>
          </c:val>
        </c:ser>
        <c:dLbls>
          <c:showLegendKey val="0"/>
          <c:showVal val="0"/>
          <c:showCatName val="0"/>
          <c:showSerName val="0"/>
          <c:showPercent val="0"/>
          <c:showBubbleSize val="0"/>
        </c:dLbls>
        <c:gapWidth val="150"/>
        <c:axId val="193419264"/>
        <c:axId val="193545752"/>
      </c:barChart>
      <c:catAx>
        <c:axId val="193419264"/>
        <c:scaling>
          <c:orientation val="minMax"/>
        </c:scaling>
        <c:delete val="0"/>
        <c:axPos val="b"/>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545752"/>
        <c:crosses val="autoZero"/>
        <c:auto val="1"/>
        <c:lblAlgn val="ctr"/>
        <c:lblOffset val="100"/>
        <c:noMultiLvlLbl val="0"/>
      </c:catAx>
      <c:valAx>
        <c:axId val="193545752"/>
        <c:scaling>
          <c:orientation val="minMax"/>
        </c:scaling>
        <c:delete val="0"/>
        <c:axPos val="l"/>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419264"/>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400" b="1" i="0" baseline="0"/>
              <a:t>RSCP Comparison</a:t>
            </a:r>
            <a:endParaRPr lang="zh-CN" sz="1400" b="1" i="0" baseline="0"/>
          </a:p>
        </c:rich>
      </c:tx>
      <c:overlay val="0"/>
      <c:spPr>
        <a:noFill/>
        <a:ln>
          <a:noFill/>
        </a:ln>
        <a:effectLst/>
      </c:spPr>
    </c:title>
    <c:autoTitleDeleted val="0"/>
    <c:plotArea>
      <c:layout/>
      <c:barChart>
        <c:barDir val="col"/>
        <c:grouping val="clustered"/>
        <c:varyColors val="0"/>
        <c:ser>
          <c:idx val="0"/>
          <c:order val="0"/>
          <c:tx>
            <c:strRef>
              <c:f>'H2 plots '!$M$29</c:f>
              <c:strCache>
                <c:ptCount val="1"/>
                <c:pt idx="0">
                  <c:v>Pre</c:v>
                </c:pt>
              </c:strCache>
            </c:strRef>
          </c:tx>
          <c:spPr>
            <a:solidFill>
              <a:schemeClr val="accent1">
                <a:lumMod val="90000"/>
              </a:schemeClr>
            </a:solidFill>
            <a:ln w="28575" cap="rnd">
              <a:solidFill>
                <a:schemeClr val="accent1">
                  <a:lumMod val="90000"/>
                </a:schemeClr>
              </a:solidFill>
              <a:round/>
            </a:ln>
            <a:effectLst/>
          </c:spPr>
          <c:invertIfNegative val="0"/>
          <c:cat>
            <c:strRef>
              <c:f>'H2 plots '!$N$28:$S$28</c:f>
              <c:strCache>
                <c:ptCount val="6"/>
                <c:pt idx="0">
                  <c:v>-65, 0</c:v>
                </c:pt>
                <c:pt idx="1">
                  <c:v>-65, -75</c:v>
                </c:pt>
                <c:pt idx="2">
                  <c:v>-75, -85</c:v>
                </c:pt>
                <c:pt idx="3">
                  <c:v>-85, -95</c:v>
                </c:pt>
                <c:pt idx="4">
                  <c:v>-95, -105</c:v>
                </c:pt>
                <c:pt idx="5">
                  <c:v>-105, -115</c:v>
                </c:pt>
              </c:strCache>
            </c:strRef>
          </c:cat>
          <c:val>
            <c:numRef>
              <c:f>'H2 plots '!$N$29:$S$29</c:f>
              <c:numCache>
                <c:formatCode>0.00%</c:formatCode>
                <c:ptCount val="6"/>
                <c:pt idx="0">
                  <c:v>0.18840000000000018</c:v>
                </c:pt>
                <c:pt idx="1">
                  <c:v>0.31550000000000022</c:v>
                </c:pt>
                <c:pt idx="2">
                  <c:v>0.33050000000000035</c:v>
                </c:pt>
                <c:pt idx="3">
                  <c:v>0.1528000000000001</c:v>
                </c:pt>
                <c:pt idx="4">
                  <c:v>1.2699999999999998E-2</c:v>
                </c:pt>
                <c:pt idx="5">
                  <c:v>1.0000000000000009E-4</c:v>
                </c:pt>
              </c:numCache>
            </c:numRef>
          </c:val>
        </c:ser>
        <c:ser>
          <c:idx val="1"/>
          <c:order val="1"/>
          <c:tx>
            <c:strRef>
              <c:f>'H2 plots '!$M$30</c:f>
              <c:strCache>
                <c:ptCount val="1"/>
                <c:pt idx="0">
                  <c:v>Post</c:v>
                </c:pt>
              </c:strCache>
            </c:strRef>
          </c:tx>
          <c:invertIfNegative val="0"/>
          <c:cat>
            <c:strRef>
              <c:f>'H2 plots '!$N$28:$S$28</c:f>
              <c:strCache>
                <c:ptCount val="6"/>
                <c:pt idx="0">
                  <c:v>-65, 0</c:v>
                </c:pt>
                <c:pt idx="1">
                  <c:v>-65, -75</c:v>
                </c:pt>
                <c:pt idx="2">
                  <c:v>-75, -85</c:v>
                </c:pt>
                <c:pt idx="3">
                  <c:v>-85, -95</c:v>
                </c:pt>
                <c:pt idx="4">
                  <c:v>-95, -105</c:v>
                </c:pt>
                <c:pt idx="5">
                  <c:v>-105, -115</c:v>
                </c:pt>
              </c:strCache>
            </c:strRef>
          </c:cat>
          <c:val>
            <c:numRef>
              <c:f>'H2 plots '!$N$30:$S$30</c:f>
              <c:numCache>
                <c:formatCode>0.00%</c:formatCode>
                <c:ptCount val="6"/>
                <c:pt idx="0">
                  <c:v>0.2366</c:v>
                </c:pt>
                <c:pt idx="1">
                  <c:v>0.33220000000000022</c:v>
                </c:pt>
                <c:pt idx="2">
                  <c:v>0.29110000000000008</c:v>
                </c:pt>
                <c:pt idx="3">
                  <c:v>0.1263</c:v>
                </c:pt>
                <c:pt idx="4">
                  <c:v>1.380000000000001E-2</c:v>
                </c:pt>
                <c:pt idx="5" formatCode="0%">
                  <c:v>1.0000000000000009E-4</c:v>
                </c:pt>
              </c:numCache>
            </c:numRef>
          </c:val>
        </c:ser>
        <c:dLbls>
          <c:showLegendKey val="0"/>
          <c:showVal val="0"/>
          <c:showCatName val="0"/>
          <c:showSerName val="0"/>
          <c:showPercent val="0"/>
          <c:showBubbleSize val="0"/>
        </c:dLbls>
        <c:gapWidth val="150"/>
        <c:axId val="193546536"/>
        <c:axId val="193546928"/>
      </c:barChart>
      <c:catAx>
        <c:axId val="193546536"/>
        <c:scaling>
          <c:orientation val="minMax"/>
        </c:scaling>
        <c:delete val="0"/>
        <c:axPos val="b"/>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546928"/>
        <c:crosses val="autoZero"/>
        <c:auto val="1"/>
        <c:lblAlgn val="ctr"/>
        <c:lblOffset val="100"/>
        <c:noMultiLvlLbl val="0"/>
      </c:catAx>
      <c:valAx>
        <c:axId val="193546928"/>
        <c:scaling>
          <c:orientation val="minMax"/>
        </c:scaling>
        <c:delete val="0"/>
        <c:axPos val="l"/>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546536"/>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ltLang="zh-CN" sz="1400" b="1" i="0" baseline="0"/>
              <a:t>RxLev Comparison</a:t>
            </a:r>
            <a:endParaRPr lang="zh-CN" sz="1400" b="1" i="0" baseline="0"/>
          </a:p>
        </c:rich>
      </c:tx>
      <c:overlay val="0"/>
      <c:spPr>
        <a:noFill/>
        <a:ln>
          <a:noFill/>
        </a:ln>
        <a:effectLst/>
      </c:spPr>
    </c:title>
    <c:autoTitleDeleted val="0"/>
    <c:plotArea>
      <c:layout/>
      <c:barChart>
        <c:barDir val="col"/>
        <c:grouping val="clustered"/>
        <c:varyColors val="0"/>
        <c:ser>
          <c:idx val="0"/>
          <c:order val="0"/>
          <c:tx>
            <c:strRef>
              <c:f>'Ndl H2 plots'!$M$3</c:f>
              <c:strCache>
                <c:ptCount val="1"/>
                <c:pt idx="0">
                  <c:v>Pre</c:v>
                </c:pt>
              </c:strCache>
            </c:strRef>
          </c:tx>
          <c:spPr>
            <a:solidFill>
              <a:schemeClr val="accent1">
                <a:lumMod val="90000"/>
              </a:schemeClr>
            </a:solidFill>
            <a:ln w="28575" cap="rnd">
              <a:solidFill>
                <a:schemeClr val="accent1">
                  <a:lumMod val="90000"/>
                </a:schemeClr>
              </a:solidFill>
              <a:round/>
            </a:ln>
            <a:effectLst/>
          </c:spPr>
          <c:invertIfNegative val="0"/>
          <c:cat>
            <c:strRef>
              <c:f>'Ndl H2 plots'!$N$2:$R$2</c:f>
              <c:strCache>
                <c:ptCount val="5"/>
                <c:pt idx="0">
                  <c:v>-70, -10</c:v>
                </c:pt>
                <c:pt idx="1">
                  <c:v>-80, -70</c:v>
                </c:pt>
                <c:pt idx="2">
                  <c:v>-90,-80</c:v>
                </c:pt>
                <c:pt idx="3">
                  <c:v>-100, -90</c:v>
                </c:pt>
                <c:pt idx="4">
                  <c:v>-120, -100</c:v>
                </c:pt>
              </c:strCache>
            </c:strRef>
          </c:cat>
          <c:val>
            <c:numRef>
              <c:f>'Ndl H2 plots'!$N$3:$R$3</c:f>
              <c:numCache>
                <c:formatCode>0.00%</c:formatCode>
                <c:ptCount val="5"/>
                <c:pt idx="0">
                  <c:v>0.35880000000000017</c:v>
                </c:pt>
                <c:pt idx="1">
                  <c:v>0.40210000000000001</c:v>
                </c:pt>
                <c:pt idx="2">
                  <c:v>0.21730000000000008</c:v>
                </c:pt>
                <c:pt idx="3">
                  <c:v>2.1100000000000001E-2</c:v>
                </c:pt>
                <c:pt idx="4">
                  <c:v>6.0000000000000038E-4</c:v>
                </c:pt>
              </c:numCache>
            </c:numRef>
          </c:val>
        </c:ser>
        <c:ser>
          <c:idx val="1"/>
          <c:order val="1"/>
          <c:tx>
            <c:strRef>
              <c:f>'Ndl H2 plots'!$M$4</c:f>
              <c:strCache>
                <c:ptCount val="1"/>
                <c:pt idx="0">
                  <c:v>Post</c:v>
                </c:pt>
              </c:strCache>
            </c:strRef>
          </c:tx>
          <c:invertIfNegative val="0"/>
          <c:cat>
            <c:strRef>
              <c:f>'Ndl H2 plots'!$N$2:$R$2</c:f>
              <c:strCache>
                <c:ptCount val="5"/>
                <c:pt idx="0">
                  <c:v>-70, -10</c:v>
                </c:pt>
                <c:pt idx="1">
                  <c:v>-80, -70</c:v>
                </c:pt>
                <c:pt idx="2">
                  <c:v>-90,-80</c:v>
                </c:pt>
                <c:pt idx="3">
                  <c:v>-100, -90</c:v>
                </c:pt>
                <c:pt idx="4">
                  <c:v>-120, -100</c:v>
                </c:pt>
              </c:strCache>
            </c:strRef>
          </c:cat>
          <c:val>
            <c:numRef>
              <c:f>'Ndl H2 plots'!$N$4:$R$4</c:f>
              <c:numCache>
                <c:formatCode>0.00%</c:formatCode>
                <c:ptCount val="5"/>
                <c:pt idx="0">
                  <c:v>0.49120000000000008</c:v>
                </c:pt>
                <c:pt idx="1">
                  <c:v>0.36930000000000024</c:v>
                </c:pt>
                <c:pt idx="2">
                  <c:v>0.1258</c:v>
                </c:pt>
                <c:pt idx="3">
                  <c:v>1.3400000000000007E-2</c:v>
                </c:pt>
                <c:pt idx="4">
                  <c:v>2.0000000000000015E-4</c:v>
                </c:pt>
              </c:numCache>
            </c:numRef>
          </c:val>
        </c:ser>
        <c:dLbls>
          <c:showLegendKey val="0"/>
          <c:showVal val="0"/>
          <c:showCatName val="0"/>
          <c:showSerName val="0"/>
          <c:showPercent val="0"/>
          <c:showBubbleSize val="0"/>
        </c:dLbls>
        <c:gapWidth val="150"/>
        <c:axId val="193548104"/>
        <c:axId val="193548496"/>
      </c:barChart>
      <c:catAx>
        <c:axId val="193548104"/>
        <c:scaling>
          <c:orientation val="minMax"/>
        </c:scaling>
        <c:delete val="0"/>
        <c:axPos val="b"/>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548496"/>
        <c:crosses val="autoZero"/>
        <c:auto val="1"/>
        <c:lblAlgn val="ctr"/>
        <c:lblOffset val="100"/>
        <c:noMultiLvlLbl val="0"/>
      </c:catAx>
      <c:valAx>
        <c:axId val="193548496"/>
        <c:scaling>
          <c:orientation val="minMax"/>
        </c:scaling>
        <c:delete val="0"/>
        <c:axPos val="l"/>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548104"/>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b="1" i="0" baseline="0" dirty="0" smtClean="0"/>
              <a:t>NETWORK AVAILABILITY – DECEMBER 2015</a:t>
            </a:r>
            <a:endParaRPr lang="en-GB" sz="1800" b="1" i="0" baseline="0" dirty="0"/>
          </a:p>
        </c:rich>
      </c:tx>
      <c:overlay val="0"/>
      <c:spPr>
        <a:noFill/>
        <a:ln>
          <a:noFill/>
        </a:ln>
        <a:effectLst/>
      </c:spPr>
    </c:title>
    <c:autoTitleDeleted val="0"/>
    <c:plotArea>
      <c:layout/>
      <c:lineChart>
        <c:grouping val="standard"/>
        <c:varyColors val="0"/>
        <c:ser>
          <c:idx val="0"/>
          <c:order val="0"/>
          <c:tx>
            <c:v>DEC AVAILABILITY</c:v>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2"/>
              <c:layout>
                <c:manualLayout>
                  <c:x val="-1.3888888888888889E-3"/>
                  <c:y val="-4.9549567124057288E-2"/>
                </c:manualLayout>
              </c:layout>
              <c:showLegendKey val="0"/>
              <c:showVal val="1"/>
              <c:showCatName val="0"/>
              <c:showSerName val="0"/>
              <c:showPercent val="0"/>
              <c:showBubbleSize val="0"/>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layout>
                <c:manualLayout>
                  <c:x val="-2.361111111111111E-2"/>
                  <c:y val="-2.7027036613122158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3.8888888888888862E-2"/>
                  <c:y val="4.5045061021870263E-3"/>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2.0833333333333332E-2"/>
                  <c:y val="1.8018024408748105E-2"/>
                </c:manualLayout>
              </c:layout>
              <c:showLegendKey val="0"/>
              <c:showVal val="1"/>
              <c:showCatName val="0"/>
              <c:showSerName val="0"/>
              <c:showPercent val="0"/>
              <c:showBubbleSize val="0"/>
              <c:extLst>
                <c:ext xmlns:c15="http://schemas.microsoft.com/office/drawing/2012/chart" uri="{CE6537A1-D6FC-4f65-9D91-7224C49458BB}"/>
              </c:extLst>
            </c:dLbl>
            <c:dLbl>
              <c:idx val="8"/>
              <c:delete val="1"/>
              <c:extLst>
                <c:ext xmlns:c15="http://schemas.microsoft.com/office/drawing/2012/chart" uri="{CE6537A1-D6FC-4f65-9D91-7224C49458BB}"/>
              </c:extLst>
            </c:dLbl>
            <c:dLbl>
              <c:idx val="9"/>
              <c:layout>
                <c:manualLayout>
                  <c:x val="-1.5277777777777777E-2"/>
                  <c:y val="-2.2522530510935133E-2"/>
                </c:manualLayout>
              </c:layout>
              <c:showLegendKey val="0"/>
              <c:showVal val="1"/>
              <c:showCatName val="0"/>
              <c:showSerName val="0"/>
              <c:showPercent val="0"/>
              <c:showBubbleSize val="0"/>
              <c:extLst>
                <c:ext xmlns:c15="http://schemas.microsoft.com/office/drawing/2012/chart" uri="{CE6537A1-D6FC-4f65-9D91-7224C49458BB}"/>
              </c:extLst>
            </c:dLbl>
            <c:dLbl>
              <c:idx val="11"/>
              <c:layout>
                <c:manualLayout>
                  <c:x val="-1.2500000000000001E-2"/>
                  <c:y val="4.5045061021870267E-2"/>
                </c:manualLayout>
              </c:layout>
              <c:showLegendKey val="0"/>
              <c:showVal val="1"/>
              <c:showCatName val="0"/>
              <c:showSerName val="0"/>
              <c:showPercent val="0"/>
              <c:showBubbleSize val="0"/>
              <c:extLst>
                <c:ext xmlns:c15="http://schemas.microsoft.com/office/drawing/2012/chart" uri="{CE6537A1-D6FC-4f65-9D91-7224C49458BB}"/>
              </c:extLst>
            </c:dLbl>
            <c:dLbl>
              <c:idx val="12"/>
              <c:layout>
                <c:manualLayout>
                  <c:x val="-2.7777777777777776E-2"/>
                  <c:y val="-4.5045061021870263E-3"/>
                </c:manualLayout>
              </c:layout>
              <c:showLegendKey val="0"/>
              <c:showVal val="1"/>
              <c:showCatName val="0"/>
              <c:showSerName val="0"/>
              <c:showPercent val="0"/>
              <c:showBubbleSize val="0"/>
              <c:extLst>
                <c:ext xmlns:c15="http://schemas.microsoft.com/office/drawing/2012/chart" uri="{CE6537A1-D6FC-4f65-9D91-7224C49458BB}"/>
              </c:extLst>
            </c:dLbl>
            <c:dLbl>
              <c:idx val="14"/>
              <c:layout>
                <c:manualLayout>
                  <c:x val="-1.6666666666666666E-2"/>
                  <c:y val="4.504506102187068E-3"/>
                </c:manualLayout>
              </c:layout>
              <c:showLegendKey val="0"/>
              <c:showVal val="1"/>
              <c:showCatName val="0"/>
              <c:showSerName val="0"/>
              <c:showPercent val="0"/>
              <c:showBubbleSize val="0"/>
              <c:extLst>
                <c:ext xmlns:c15="http://schemas.microsoft.com/office/drawing/2012/chart" uri="{CE6537A1-D6FC-4f65-9D91-7224C49458BB}"/>
              </c:extLst>
            </c:dLbl>
            <c:dLbl>
              <c:idx val="15"/>
              <c:delete val="1"/>
              <c:extLst>
                <c:ext xmlns:c15="http://schemas.microsoft.com/office/drawing/2012/chart" uri="{CE6537A1-D6FC-4f65-9D91-7224C49458BB}"/>
              </c:extLst>
            </c:dLbl>
            <c:dLbl>
              <c:idx val="17"/>
              <c:delete val="1"/>
              <c:extLst>
                <c:ext xmlns:c15="http://schemas.microsoft.com/office/drawing/2012/chart" uri="{CE6537A1-D6FC-4f65-9D91-7224C49458BB}"/>
              </c:extLst>
            </c:dLbl>
            <c:dLbl>
              <c:idx val="18"/>
              <c:layout>
                <c:manualLayout>
                  <c:x val="-1.6666666666666666E-2"/>
                  <c:y val="1.3513518306561121E-2"/>
                </c:manualLayout>
              </c:layout>
              <c:showLegendKey val="0"/>
              <c:showVal val="1"/>
              <c:showCatName val="0"/>
              <c:showSerName val="0"/>
              <c:showPercent val="0"/>
              <c:showBubbleSize val="0"/>
              <c:extLst>
                <c:ext xmlns:c15="http://schemas.microsoft.com/office/drawing/2012/chart" uri="{CE6537A1-D6FC-4f65-9D91-7224C49458BB}"/>
              </c:extLst>
            </c:dLbl>
            <c:dLbl>
              <c:idx val="19"/>
              <c:layout>
                <c:manualLayout>
                  <c:x val="-6.9444444444444441E-3"/>
                  <c:y val="-2.2522530510935133E-2"/>
                </c:manualLayout>
              </c:layout>
              <c:showLegendKey val="0"/>
              <c:showVal val="1"/>
              <c:showCatName val="0"/>
              <c:showSerName val="0"/>
              <c:showPercent val="0"/>
              <c:showBubbleSize val="0"/>
              <c:extLst>
                <c:ext xmlns:c15="http://schemas.microsoft.com/office/drawing/2012/chart" uri="{CE6537A1-D6FC-4f65-9D91-7224C49458BB}"/>
              </c:extLst>
            </c:dLbl>
            <c:dLbl>
              <c:idx val="20"/>
              <c:delete val="1"/>
              <c:extLst>
                <c:ext xmlns:c15="http://schemas.microsoft.com/office/drawing/2012/chart" uri="{CE6537A1-D6FC-4f65-9D91-7224C49458BB}"/>
              </c:extLst>
            </c:dLbl>
            <c:dLbl>
              <c:idx val="21"/>
              <c:layout>
                <c:manualLayout>
                  <c:x val="-3.0555555555555555E-2"/>
                  <c:y val="2.2522530510935133E-2"/>
                </c:manualLayout>
              </c:layout>
              <c:showLegendKey val="0"/>
              <c:showVal val="1"/>
              <c:showCatName val="0"/>
              <c:showSerName val="0"/>
              <c:showPercent val="0"/>
              <c:showBubbleSize val="0"/>
              <c:extLst>
                <c:ext xmlns:c15="http://schemas.microsoft.com/office/drawing/2012/chart" uri="{CE6537A1-D6FC-4f65-9D91-7224C49458BB}"/>
              </c:extLst>
            </c:dLbl>
            <c:dLbl>
              <c:idx val="22"/>
              <c:layout>
                <c:manualLayout>
                  <c:x val="-1.9444444444444445E-2"/>
                  <c:y val="5.4054073226244316E-2"/>
                </c:manualLayout>
              </c:layout>
              <c:showLegendKey val="0"/>
              <c:showVal val="1"/>
              <c:showCatName val="0"/>
              <c:showSerName val="0"/>
              <c:showPercent val="0"/>
              <c:showBubbleSize val="0"/>
              <c:extLst>
                <c:ext xmlns:c15="http://schemas.microsoft.com/office/drawing/2012/chart" uri="{CE6537A1-D6FC-4f65-9D91-7224C49458BB}"/>
              </c:extLst>
            </c:dLbl>
            <c:dLbl>
              <c:idx val="23"/>
              <c:layout>
                <c:manualLayout>
                  <c:x val="-1.3888888888888889E-3"/>
                  <c:y val="1.3513518306561079E-2"/>
                </c:manualLayout>
              </c:layout>
              <c:showLegendKey val="0"/>
              <c:showVal val="1"/>
              <c:showCatName val="0"/>
              <c:showSerName val="0"/>
              <c:showPercent val="0"/>
              <c:showBubbleSize val="0"/>
              <c:extLst>
                <c:ext xmlns:c15="http://schemas.microsoft.com/office/drawing/2012/chart" uri="{CE6537A1-D6FC-4f65-9D91-7224C49458BB}"/>
              </c:extLst>
            </c:dLbl>
            <c:dLbl>
              <c:idx val="24"/>
              <c:layout>
                <c:manualLayout>
                  <c:x val="-3.1944444444444546E-2"/>
                  <c:y val="0"/>
                </c:manualLayout>
              </c:layout>
              <c:showLegendKey val="0"/>
              <c:showVal val="1"/>
              <c:showCatName val="0"/>
              <c:showSerName val="0"/>
              <c:showPercent val="0"/>
              <c:showBubbleSize val="0"/>
              <c:extLst>
                <c:ext xmlns:c15="http://schemas.microsoft.com/office/drawing/2012/chart" uri="{CE6537A1-D6FC-4f65-9D91-7224C49458BB}"/>
              </c:extLst>
            </c:dLbl>
            <c:dLbl>
              <c:idx val="25"/>
              <c:layout>
                <c:manualLayout>
                  <c:x val="-2.2222222222222223E-2"/>
                  <c:y val="4.5045061021870263E-3"/>
                </c:manualLayout>
              </c:layout>
              <c:showLegendKey val="0"/>
              <c:showVal val="1"/>
              <c:showCatName val="0"/>
              <c:showSerName val="0"/>
              <c:showPercent val="0"/>
              <c:showBubbleSize val="0"/>
              <c:extLst>
                <c:ext xmlns:c15="http://schemas.microsoft.com/office/drawing/2012/chart" uri="{CE6537A1-D6FC-4f65-9D91-7224C49458BB}"/>
              </c:extLst>
            </c:dLbl>
            <c:dLbl>
              <c:idx val="27"/>
              <c:delete val="1"/>
              <c:extLst>
                <c:ext xmlns:c15="http://schemas.microsoft.com/office/drawing/2012/chart" uri="{CE6537A1-D6FC-4f65-9D91-7224C49458BB}"/>
              </c:extLst>
            </c:dLbl>
            <c:dLbl>
              <c:idx val="28"/>
              <c:layout>
                <c:manualLayout>
                  <c:x val="0"/>
                  <c:y val="2.7027036613122158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_MTN ZAMBIA_PERFECT10 REPOR~_1'!$A$32:$A$60</c:f>
              <c:numCache>
                <c:formatCode>[$-409]d\-mmm;@</c:formatCode>
                <c:ptCount val="29"/>
                <c:pt idx="0">
                  <c:v>42339</c:v>
                </c:pt>
                <c:pt idx="1">
                  <c:v>42340</c:v>
                </c:pt>
                <c:pt idx="2">
                  <c:v>42341</c:v>
                </c:pt>
                <c:pt idx="3">
                  <c:v>42342</c:v>
                </c:pt>
                <c:pt idx="4">
                  <c:v>42343</c:v>
                </c:pt>
                <c:pt idx="5">
                  <c:v>42344</c:v>
                </c:pt>
                <c:pt idx="6">
                  <c:v>42345</c:v>
                </c:pt>
                <c:pt idx="7">
                  <c:v>42346</c:v>
                </c:pt>
                <c:pt idx="8">
                  <c:v>42347</c:v>
                </c:pt>
                <c:pt idx="9">
                  <c:v>42348</c:v>
                </c:pt>
                <c:pt idx="10">
                  <c:v>42349</c:v>
                </c:pt>
                <c:pt idx="11">
                  <c:v>42350</c:v>
                </c:pt>
                <c:pt idx="12">
                  <c:v>42351</c:v>
                </c:pt>
                <c:pt idx="13">
                  <c:v>42352</c:v>
                </c:pt>
                <c:pt idx="14">
                  <c:v>42353</c:v>
                </c:pt>
                <c:pt idx="15">
                  <c:v>42354</c:v>
                </c:pt>
                <c:pt idx="16">
                  <c:v>42355</c:v>
                </c:pt>
                <c:pt idx="17">
                  <c:v>42356</c:v>
                </c:pt>
                <c:pt idx="18">
                  <c:v>42357</c:v>
                </c:pt>
                <c:pt idx="19">
                  <c:v>42358</c:v>
                </c:pt>
                <c:pt idx="20">
                  <c:v>42359</c:v>
                </c:pt>
                <c:pt idx="21">
                  <c:v>42360</c:v>
                </c:pt>
                <c:pt idx="22">
                  <c:v>42361</c:v>
                </c:pt>
                <c:pt idx="23">
                  <c:v>42362</c:v>
                </c:pt>
                <c:pt idx="24">
                  <c:v>42363</c:v>
                </c:pt>
                <c:pt idx="25">
                  <c:v>42364</c:v>
                </c:pt>
                <c:pt idx="26">
                  <c:v>42365</c:v>
                </c:pt>
                <c:pt idx="27">
                  <c:v>42366</c:v>
                </c:pt>
                <c:pt idx="28">
                  <c:v>42367</c:v>
                </c:pt>
              </c:numCache>
            </c:numRef>
          </c:cat>
          <c:val>
            <c:numRef>
              <c:f>'_MTN ZAMBIA_PERFECT10 REPOR~_1'!$C$32:$C$60</c:f>
              <c:numCache>
                <c:formatCode>_(* #,##0.00_);_(* \(#,##0.00\);_(* "-"??_);_(@_)</c:formatCode>
                <c:ptCount val="29"/>
                <c:pt idx="0">
                  <c:v>98.570000000000007</c:v>
                </c:pt>
                <c:pt idx="1">
                  <c:v>97.784999999999997</c:v>
                </c:pt>
                <c:pt idx="2">
                  <c:v>98.232500000000016</c:v>
                </c:pt>
                <c:pt idx="3">
                  <c:v>98.144999999999996</c:v>
                </c:pt>
                <c:pt idx="4">
                  <c:v>97.985000000000014</c:v>
                </c:pt>
                <c:pt idx="5">
                  <c:v>97.527500000000003</c:v>
                </c:pt>
                <c:pt idx="6">
                  <c:v>97.215000000000003</c:v>
                </c:pt>
                <c:pt idx="7">
                  <c:v>97.774999999999991</c:v>
                </c:pt>
                <c:pt idx="8">
                  <c:v>97.78</c:v>
                </c:pt>
                <c:pt idx="9">
                  <c:v>98.247500000000002</c:v>
                </c:pt>
                <c:pt idx="10">
                  <c:v>94.545000000000002</c:v>
                </c:pt>
                <c:pt idx="11">
                  <c:v>96.964999999999989</c:v>
                </c:pt>
                <c:pt idx="12">
                  <c:v>98.61999999999999</c:v>
                </c:pt>
                <c:pt idx="13">
                  <c:v>98.444999999999993</c:v>
                </c:pt>
                <c:pt idx="14">
                  <c:v>97.802500000000009</c:v>
                </c:pt>
                <c:pt idx="15">
                  <c:v>97.64</c:v>
                </c:pt>
                <c:pt idx="16">
                  <c:v>98.03</c:v>
                </c:pt>
                <c:pt idx="17">
                  <c:v>97.924999999999997</c:v>
                </c:pt>
                <c:pt idx="18">
                  <c:v>97.885000000000005</c:v>
                </c:pt>
                <c:pt idx="19">
                  <c:v>98.007499999999993</c:v>
                </c:pt>
                <c:pt idx="20">
                  <c:v>97.894999999999996</c:v>
                </c:pt>
                <c:pt idx="21">
                  <c:v>97.274999999999991</c:v>
                </c:pt>
                <c:pt idx="22">
                  <c:v>97.0625</c:v>
                </c:pt>
                <c:pt idx="23">
                  <c:v>98.127500000000012</c:v>
                </c:pt>
                <c:pt idx="24">
                  <c:v>98.704999999999984</c:v>
                </c:pt>
                <c:pt idx="25">
                  <c:v>98.53</c:v>
                </c:pt>
                <c:pt idx="26">
                  <c:v>98.745000000000005</c:v>
                </c:pt>
                <c:pt idx="27">
                  <c:v>97.929999999999993</c:v>
                </c:pt>
                <c:pt idx="28">
                  <c:v>98.234999999999985</c:v>
                </c:pt>
              </c:numCache>
            </c:numRef>
          </c:val>
          <c:smooth val="0"/>
        </c:ser>
        <c:dLbls>
          <c:showLegendKey val="0"/>
          <c:showVal val="0"/>
          <c:showCatName val="0"/>
          <c:showSerName val="0"/>
          <c:showPercent val="0"/>
          <c:showBubbleSize val="0"/>
        </c:dLbls>
        <c:marker val="1"/>
        <c:smooth val="0"/>
        <c:axId val="191421856"/>
        <c:axId val="191421072"/>
      </c:lineChart>
      <c:dateAx>
        <c:axId val="191421856"/>
        <c:scaling>
          <c:orientation val="minMax"/>
        </c:scaling>
        <c:delete val="0"/>
        <c:axPos val="b"/>
        <c:numFmt formatCode="[$-409]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21072"/>
        <c:crosses val="autoZero"/>
        <c:auto val="1"/>
        <c:lblOffset val="100"/>
        <c:baseTimeUnit val="days"/>
      </c:dateAx>
      <c:valAx>
        <c:axId val="191421072"/>
        <c:scaling>
          <c:orientation val="minMax"/>
          <c:min val="94.5"/>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21856"/>
        <c:crosses val="autoZero"/>
        <c:crossBetween val="between"/>
        <c:majorUnit val="0.5"/>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2G Coverage Rate </a:t>
            </a:r>
            <a:r>
              <a:rPr lang="en-US" sz="1000" b="0" i="0" baseline="0"/>
              <a:t>- [Rxlev &gt;=-90dBm](%)</a:t>
            </a:r>
            <a:endParaRPr lang="zh-CN" sz="1000" b="0" i="0" baseline="0"/>
          </a:p>
        </c:rich>
      </c:tx>
      <c:overlay val="0"/>
      <c:spPr>
        <a:noFill/>
        <a:ln>
          <a:noFill/>
        </a:ln>
        <a:effectLst/>
      </c:spPr>
    </c:title>
    <c:autoTitleDeleted val="0"/>
    <c:plotArea>
      <c:layout/>
      <c:lineChart>
        <c:grouping val="standard"/>
        <c:varyColors val="0"/>
        <c:ser>
          <c:idx val="0"/>
          <c:order val="0"/>
          <c:tx>
            <c:strRef>
              <c:f>'H2 2015 Cluster Opt'!$B$2</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1:$K$1</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K$2</c:f>
              <c:numCache>
                <c:formatCode>0.00</c:formatCode>
                <c:ptCount val="9"/>
                <c:pt idx="0">
                  <c:v>98.04</c:v>
                </c:pt>
                <c:pt idx="1">
                  <c:v>98.86999999999999</c:v>
                </c:pt>
                <c:pt idx="2">
                  <c:v>99.51</c:v>
                </c:pt>
                <c:pt idx="3">
                  <c:v>97.8</c:v>
                </c:pt>
                <c:pt idx="4">
                  <c:v>94.76</c:v>
                </c:pt>
                <c:pt idx="5">
                  <c:v>98.22</c:v>
                </c:pt>
                <c:pt idx="6">
                  <c:v>93.98</c:v>
                </c:pt>
                <c:pt idx="7">
                  <c:v>99.04</c:v>
                </c:pt>
                <c:pt idx="8">
                  <c:v>98.35</c:v>
                </c:pt>
              </c:numCache>
            </c:numRef>
          </c:val>
          <c:smooth val="0"/>
        </c:ser>
        <c:ser>
          <c:idx val="1"/>
          <c:order val="1"/>
          <c:tx>
            <c:strRef>
              <c:f>'H2 2015 Cluster Opt'!$B$3</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1:$K$1</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3:$K$3</c:f>
              <c:numCache>
                <c:formatCode>0.00</c:formatCode>
                <c:ptCount val="9"/>
                <c:pt idx="0">
                  <c:v>98.04</c:v>
                </c:pt>
                <c:pt idx="1">
                  <c:v>98.86999999999999</c:v>
                </c:pt>
                <c:pt idx="2">
                  <c:v>99.649999999999991</c:v>
                </c:pt>
                <c:pt idx="3">
                  <c:v>98.76</c:v>
                </c:pt>
                <c:pt idx="4">
                  <c:v>96.64</c:v>
                </c:pt>
                <c:pt idx="5">
                  <c:v>98.88</c:v>
                </c:pt>
                <c:pt idx="6">
                  <c:v>96.33</c:v>
                </c:pt>
                <c:pt idx="7">
                  <c:v>99.04</c:v>
                </c:pt>
                <c:pt idx="8">
                  <c:v>98.35</c:v>
                </c:pt>
              </c:numCache>
            </c:numRef>
          </c:val>
          <c:smooth val="0"/>
        </c:ser>
        <c:dLbls>
          <c:showLegendKey val="0"/>
          <c:showVal val="0"/>
          <c:showCatName val="0"/>
          <c:showSerName val="0"/>
          <c:showPercent val="0"/>
          <c:showBubbleSize val="0"/>
        </c:dLbls>
        <c:marker val="1"/>
        <c:smooth val="0"/>
        <c:axId val="191416408"/>
        <c:axId val="191415624"/>
      </c:lineChart>
      <c:catAx>
        <c:axId val="191416408"/>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15624"/>
        <c:crosses val="autoZero"/>
        <c:auto val="1"/>
        <c:lblAlgn val="ctr"/>
        <c:lblOffset val="100"/>
        <c:noMultiLvlLbl val="0"/>
      </c:catAx>
      <c:valAx>
        <c:axId val="191415624"/>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16408"/>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3G Coverage </a:t>
            </a:r>
            <a:r>
              <a:rPr lang="en-US" sz="1000" b="0" i="0" baseline="0"/>
              <a:t>- [RSCP &gt;=-95dBm]</a:t>
            </a:r>
            <a:r>
              <a:rPr lang="en-US" sz="1000" b="0" i="0" u="none" strike="noStrike" baseline="0"/>
              <a:t>(%)</a:t>
            </a:r>
            <a:endParaRPr lang="zh-CN" sz="1000" b="0" i="0" baseline="0"/>
          </a:p>
        </c:rich>
      </c:tx>
      <c:overlay val="0"/>
      <c:spPr>
        <a:noFill/>
        <a:ln>
          <a:noFill/>
        </a:ln>
        <a:effectLst/>
      </c:spPr>
    </c:title>
    <c:autoTitleDeleted val="0"/>
    <c:plotArea>
      <c:layout/>
      <c:lineChart>
        <c:grouping val="standard"/>
        <c:varyColors val="0"/>
        <c:ser>
          <c:idx val="0"/>
          <c:order val="0"/>
          <c:tx>
            <c:strRef>
              <c:f>'H2 2015 Cluster Opt'!$B$135</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134:$K$134</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35:$K$135</c:f>
              <c:numCache>
                <c:formatCode>0.00</c:formatCode>
                <c:ptCount val="9"/>
                <c:pt idx="0">
                  <c:v>94.25</c:v>
                </c:pt>
                <c:pt idx="1">
                  <c:v>93.1</c:v>
                </c:pt>
                <c:pt idx="2">
                  <c:v>97.61</c:v>
                </c:pt>
                <c:pt idx="3">
                  <c:v>98.210000000000008</c:v>
                </c:pt>
                <c:pt idx="4">
                  <c:v>98.61</c:v>
                </c:pt>
                <c:pt idx="5">
                  <c:v>98.08</c:v>
                </c:pt>
                <c:pt idx="6">
                  <c:v>97.81</c:v>
                </c:pt>
                <c:pt idx="7">
                  <c:v>84.86</c:v>
                </c:pt>
                <c:pt idx="8">
                  <c:v>88.26</c:v>
                </c:pt>
              </c:numCache>
            </c:numRef>
          </c:val>
          <c:smooth val="0"/>
        </c:ser>
        <c:ser>
          <c:idx val="1"/>
          <c:order val="1"/>
          <c:tx>
            <c:strRef>
              <c:f>'H2 2015 Cluster Opt'!$B$136</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134:$K$134</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36:$K$136</c:f>
              <c:numCache>
                <c:formatCode>0.00</c:formatCode>
                <c:ptCount val="9"/>
                <c:pt idx="0">
                  <c:v>94.64</c:v>
                </c:pt>
                <c:pt idx="1">
                  <c:v>93.1</c:v>
                </c:pt>
                <c:pt idx="2">
                  <c:v>98.5</c:v>
                </c:pt>
                <c:pt idx="3">
                  <c:v>99.440000000000012</c:v>
                </c:pt>
                <c:pt idx="4">
                  <c:v>98.72</c:v>
                </c:pt>
                <c:pt idx="5">
                  <c:v>98.81</c:v>
                </c:pt>
                <c:pt idx="6">
                  <c:v>99.210000000000008</c:v>
                </c:pt>
                <c:pt idx="7">
                  <c:v>90.48</c:v>
                </c:pt>
                <c:pt idx="8">
                  <c:v>95.27</c:v>
                </c:pt>
              </c:numCache>
            </c:numRef>
          </c:val>
          <c:smooth val="0"/>
        </c:ser>
        <c:dLbls>
          <c:showLegendKey val="0"/>
          <c:showVal val="0"/>
          <c:showCatName val="0"/>
          <c:showSerName val="0"/>
          <c:showPercent val="0"/>
          <c:showBubbleSize val="0"/>
        </c:dLbls>
        <c:marker val="1"/>
        <c:smooth val="0"/>
        <c:axId val="191414448"/>
        <c:axId val="191413664"/>
      </c:lineChart>
      <c:catAx>
        <c:axId val="191414448"/>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13664"/>
        <c:crosses val="autoZero"/>
        <c:auto val="1"/>
        <c:lblAlgn val="ctr"/>
        <c:lblOffset val="100"/>
        <c:noMultiLvlLbl val="0"/>
      </c:catAx>
      <c:valAx>
        <c:axId val="191413664"/>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1414448"/>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2G Quality </a:t>
            </a:r>
            <a:r>
              <a:rPr lang="en-US" sz="1000" b="0" i="0" baseline="0"/>
              <a:t>- [RxQual &lt;=4]</a:t>
            </a:r>
            <a:r>
              <a:rPr lang="en-US" sz="1000" b="0" i="0" u="none" strike="noStrike" baseline="0"/>
              <a:t>(%)</a:t>
            </a:r>
            <a:endParaRPr lang="zh-CN" sz="1000" b="0" i="0" baseline="0"/>
          </a:p>
        </c:rich>
      </c:tx>
      <c:overlay val="0"/>
      <c:spPr>
        <a:noFill/>
        <a:ln>
          <a:noFill/>
        </a:ln>
        <a:effectLst/>
      </c:spPr>
    </c:title>
    <c:autoTitleDeleted val="0"/>
    <c:plotArea>
      <c:layout/>
      <c:lineChart>
        <c:grouping val="standard"/>
        <c:varyColors val="0"/>
        <c:ser>
          <c:idx val="0"/>
          <c:order val="0"/>
          <c:tx>
            <c:strRef>
              <c:f>'H2 2015 Cluster Opt'!$B$30</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29:$K$29</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30:$K$30</c:f>
              <c:numCache>
                <c:formatCode>0.00</c:formatCode>
                <c:ptCount val="9"/>
                <c:pt idx="0">
                  <c:v>97.149999999999991</c:v>
                </c:pt>
                <c:pt idx="1">
                  <c:v>96.82</c:v>
                </c:pt>
                <c:pt idx="2">
                  <c:v>92.4</c:v>
                </c:pt>
                <c:pt idx="3">
                  <c:v>95.45</c:v>
                </c:pt>
                <c:pt idx="4">
                  <c:v>92.5</c:v>
                </c:pt>
                <c:pt idx="5">
                  <c:v>91.990000000000009</c:v>
                </c:pt>
                <c:pt idx="6">
                  <c:v>94.82</c:v>
                </c:pt>
                <c:pt idx="7">
                  <c:v>96.53</c:v>
                </c:pt>
                <c:pt idx="8">
                  <c:v>97.36</c:v>
                </c:pt>
              </c:numCache>
            </c:numRef>
          </c:val>
          <c:smooth val="0"/>
        </c:ser>
        <c:ser>
          <c:idx val="1"/>
          <c:order val="1"/>
          <c:tx>
            <c:strRef>
              <c:f>'H2 2015 Cluster Opt'!$B$31</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9:$K$29</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31:$K$31</c:f>
              <c:numCache>
                <c:formatCode>0.00</c:formatCode>
                <c:ptCount val="9"/>
                <c:pt idx="0">
                  <c:v>97.149999999999991</c:v>
                </c:pt>
                <c:pt idx="1">
                  <c:v>96.82</c:v>
                </c:pt>
                <c:pt idx="2">
                  <c:v>94.490000000000009</c:v>
                </c:pt>
                <c:pt idx="3">
                  <c:v>97.25</c:v>
                </c:pt>
                <c:pt idx="4">
                  <c:v>94.7</c:v>
                </c:pt>
                <c:pt idx="5">
                  <c:v>93.8</c:v>
                </c:pt>
                <c:pt idx="6">
                  <c:v>95.82</c:v>
                </c:pt>
                <c:pt idx="7">
                  <c:v>96.53</c:v>
                </c:pt>
                <c:pt idx="8">
                  <c:v>97.36</c:v>
                </c:pt>
              </c:numCache>
            </c:numRef>
          </c:val>
          <c:smooth val="0"/>
        </c:ser>
        <c:dLbls>
          <c:showLegendKey val="0"/>
          <c:showVal val="0"/>
          <c:showCatName val="0"/>
          <c:showSerName val="0"/>
          <c:showPercent val="0"/>
          <c:showBubbleSize val="0"/>
        </c:dLbls>
        <c:marker val="1"/>
        <c:smooth val="0"/>
        <c:axId val="193925000"/>
        <c:axId val="193925392"/>
      </c:lineChart>
      <c:catAx>
        <c:axId val="193925000"/>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925392"/>
        <c:crosses val="autoZero"/>
        <c:auto val="1"/>
        <c:lblAlgn val="ctr"/>
        <c:lblOffset val="100"/>
        <c:noMultiLvlLbl val="0"/>
      </c:catAx>
      <c:valAx>
        <c:axId val="19392539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925000"/>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3G Quality </a:t>
            </a:r>
            <a:r>
              <a:rPr lang="en-US" sz="1000" b="0" i="0" baseline="0"/>
              <a:t>- [Ec/Io &gt;=-14dB]</a:t>
            </a:r>
            <a:r>
              <a:rPr lang="en-US" sz="1000" b="0" i="0" u="none" strike="noStrike" baseline="0"/>
              <a:t>(%)</a:t>
            </a:r>
            <a:endParaRPr lang="zh-CN" sz="1000" b="0" i="0" baseline="0"/>
          </a:p>
        </c:rich>
      </c:tx>
      <c:overlay val="0"/>
      <c:spPr>
        <a:noFill/>
        <a:ln>
          <a:noFill/>
        </a:ln>
        <a:effectLst/>
      </c:spPr>
    </c:title>
    <c:autoTitleDeleted val="0"/>
    <c:plotArea>
      <c:layout/>
      <c:lineChart>
        <c:grouping val="standard"/>
        <c:varyColors val="0"/>
        <c:ser>
          <c:idx val="0"/>
          <c:order val="0"/>
          <c:tx>
            <c:strRef>
              <c:f>'H2 2015 Cluster Opt'!$B$159</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158:$K$158</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59:$K$159</c:f>
              <c:numCache>
                <c:formatCode>0.00</c:formatCode>
                <c:ptCount val="9"/>
                <c:pt idx="0">
                  <c:v>80.66</c:v>
                </c:pt>
                <c:pt idx="1">
                  <c:v>99.06</c:v>
                </c:pt>
                <c:pt idx="2">
                  <c:v>82.93</c:v>
                </c:pt>
                <c:pt idx="3">
                  <c:v>99.42</c:v>
                </c:pt>
                <c:pt idx="4">
                  <c:v>83</c:v>
                </c:pt>
                <c:pt idx="5">
                  <c:v>90.56</c:v>
                </c:pt>
                <c:pt idx="6">
                  <c:v>91.48</c:v>
                </c:pt>
                <c:pt idx="7">
                  <c:v>96.1</c:v>
                </c:pt>
                <c:pt idx="8">
                  <c:v>95.53</c:v>
                </c:pt>
              </c:numCache>
            </c:numRef>
          </c:val>
          <c:smooth val="0"/>
        </c:ser>
        <c:ser>
          <c:idx val="1"/>
          <c:order val="1"/>
          <c:tx>
            <c:strRef>
              <c:f>'H2 2015 Cluster Opt'!$B$160</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158:$K$158</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160:$K$160</c:f>
              <c:numCache>
                <c:formatCode>0.00</c:formatCode>
                <c:ptCount val="9"/>
                <c:pt idx="0">
                  <c:v>90.11</c:v>
                </c:pt>
                <c:pt idx="1">
                  <c:v>99.06</c:v>
                </c:pt>
                <c:pt idx="2">
                  <c:v>94.09</c:v>
                </c:pt>
                <c:pt idx="3">
                  <c:v>99.4</c:v>
                </c:pt>
                <c:pt idx="4">
                  <c:v>86.25</c:v>
                </c:pt>
                <c:pt idx="5">
                  <c:v>92.490000000000009</c:v>
                </c:pt>
                <c:pt idx="6">
                  <c:v>92.02</c:v>
                </c:pt>
                <c:pt idx="7">
                  <c:v>96.47</c:v>
                </c:pt>
                <c:pt idx="8">
                  <c:v>98.710000000000008</c:v>
                </c:pt>
              </c:numCache>
            </c:numRef>
          </c:val>
          <c:smooth val="0"/>
        </c:ser>
        <c:dLbls>
          <c:showLegendKey val="0"/>
          <c:showVal val="0"/>
          <c:showCatName val="0"/>
          <c:showSerName val="0"/>
          <c:showPercent val="0"/>
          <c:showBubbleSize val="0"/>
        </c:dLbls>
        <c:marker val="1"/>
        <c:smooth val="0"/>
        <c:axId val="193926568"/>
        <c:axId val="193926960"/>
      </c:lineChart>
      <c:catAx>
        <c:axId val="193926568"/>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926960"/>
        <c:crosses val="autoZero"/>
        <c:auto val="1"/>
        <c:lblAlgn val="ctr"/>
        <c:lblOffset val="100"/>
        <c:noMultiLvlLbl val="0"/>
      </c:catAx>
      <c:valAx>
        <c:axId val="193926960"/>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926568"/>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2G Call Setup Success Rate</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58</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57:$K$57</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58:$K$58</c:f>
              <c:numCache>
                <c:formatCode>0.00</c:formatCode>
                <c:ptCount val="9"/>
                <c:pt idx="0">
                  <c:v>100</c:v>
                </c:pt>
                <c:pt idx="1">
                  <c:v>98.04</c:v>
                </c:pt>
                <c:pt idx="2">
                  <c:v>98.36</c:v>
                </c:pt>
                <c:pt idx="3">
                  <c:v>96.490000000000009</c:v>
                </c:pt>
                <c:pt idx="4">
                  <c:v>99.23</c:v>
                </c:pt>
                <c:pt idx="5">
                  <c:v>100</c:v>
                </c:pt>
                <c:pt idx="6">
                  <c:v>98.28</c:v>
                </c:pt>
                <c:pt idx="7">
                  <c:v>100</c:v>
                </c:pt>
                <c:pt idx="8">
                  <c:v>100</c:v>
                </c:pt>
              </c:numCache>
            </c:numRef>
          </c:val>
          <c:smooth val="0"/>
        </c:ser>
        <c:ser>
          <c:idx val="1"/>
          <c:order val="1"/>
          <c:tx>
            <c:strRef>
              <c:f>'H2 2015 Cluster Opt'!$B$59</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57:$K$57</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59:$K$59</c:f>
              <c:numCache>
                <c:formatCode>0.00</c:formatCode>
                <c:ptCount val="9"/>
                <c:pt idx="0">
                  <c:v>100</c:v>
                </c:pt>
                <c:pt idx="1">
                  <c:v>98.04</c:v>
                </c:pt>
                <c:pt idx="2">
                  <c:v>100</c:v>
                </c:pt>
                <c:pt idx="3">
                  <c:v>100</c:v>
                </c:pt>
                <c:pt idx="4">
                  <c:v>99.490000000000009</c:v>
                </c:pt>
                <c:pt idx="5">
                  <c:v>100</c:v>
                </c:pt>
                <c:pt idx="6">
                  <c:v>100</c:v>
                </c:pt>
                <c:pt idx="7">
                  <c:v>100</c:v>
                </c:pt>
                <c:pt idx="8">
                  <c:v>100</c:v>
                </c:pt>
              </c:numCache>
            </c:numRef>
          </c:val>
          <c:smooth val="0"/>
        </c:ser>
        <c:dLbls>
          <c:showLegendKey val="0"/>
          <c:showVal val="0"/>
          <c:showCatName val="0"/>
          <c:showSerName val="0"/>
          <c:showPercent val="0"/>
          <c:showBubbleSize val="0"/>
        </c:dLbls>
        <c:marker val="1"/>
        <c:smooth val="0"/>
        <c:axId val="193928136"/>
        <c:axId val="217145272"/>
      </c:lineChart>
      <c:catAx>
        <c:axId val="193928136"/>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45272"/>
        <c:crosses val="autoZero"/>
        <c:auto val="1"/>
        <c:lblAlgn val="ctr"/>
        <c:lblOffset val="100"/>
        <c:noMultiLvlLbl val="0"/>
      </c:catAx>
      <c:valAx>
        <c:axId val="21714527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928136"/>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3G Call Setup Success Rate</a:t>
            </a:r>
            <a:endParaRPr lang="zh-CN" sz="1800" b="0" i="0" baseline="0"/>
          </a:p>
        </c:rich>
      </c:tx>
      <c:overlay val="0"/>
      <c:spPr>
        <a:noFill/>
        <a:ln>
          <a:noFill/>
        </a:ln>
        <a:effectLst/>
      </c:spPr>
    </c:title>
    <c:autoTitleDeleted val="0"/>
    <c:plotArea>
      <c:layout/>
      <c:lineChart>
        <c:grouping val="standard"/>
        <c:varyColors val="0"/>
        <c:ser>
          <c:idx val="0"/>
          <c:order val="0"/>
          <c:tx>
            <c:strRef>
              <c:f>'H2 2015 Cluster Opt'!$B$203</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202:$K$202</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03:$K$203</c:f>
              <c:numCache>
                <c:formatCode>0.00%</c:formatCode>
                <c:ptCount val="9"/>
                <c:pt idx="0">
                  <c:v>1</c:v>
                </c:pt>
                <c:pt idx="1">
                  <c:v>1</c:v>
                </c:pt>
                <c:pt idx="2">
                  <c:v>0.97219999999999995</c:v>
                </c:pt>
                <c:pt idx="3">
                  <c:v>1</c:v>
                </c:pt>
                <c:pt idx="4">
                  <c:v>0.97740000000000005</c:v>
                </c:pt>
                <c:pt idx="5">
                  <c:v>1</c:v>
                </c:pt>
                <c:pt idx="6">
                  <c:v>0.98249999999999993</c:v>
                </c:pt>
                <c:pt idx="7">
                  <c:v>0.98099999999999998</c:v>
                </c:pt>
                <c:pt idx="8">
                  <c:v>1</c:v>
                </c:pt>
              </c:numCache>
            </c:numRef>
          </c:val>
          <c:smooth val="0"/>
        </c:ser>
        <c:ser>
          <c:idx val="1"/>
          <c:order val="1"/>
          <c:tx>
            <c:strRef>
              <c:f>'H2 2015 Cluster Opt'!$B$204</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202:$K$202</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204:$K$204</c:f>
              <c:numCache>
                <c:formatCode>0.00%</c:formatCode>
                <c:ptCount val="9"/>
                <c:pt idx="0">
                  <c:v>1</c:v>
                </c:pt>
                <c:pt idx="1">
                  <c:v>1</c:v>
                </c:pt>
                <c:pt idx="2">
                  <c:v>0.99260000000000004</c:v>
                </c:pt>
                <c:pt idx="3">
                  <c:v>1</c:v>
                </c:pt>
                <c:pt idx="4">
                  <c:v>0.99570000000000003</c:v>
                </c:pt>
                <c:pt idx="5">
                  <c:v>1</c:v>
                </c:pt>
                <c:pt idx="6">
                  <c:v>1</c:v>
                </c:pt>
                <c:pt idx="7">
                  <c:v>0.98899999999999999</c:v>
                </c:pt>
                <c:pt idx="8">
                  <c:v>1</c:v>
                </c:pt>
              </c:numCache>
            </c:numRef>
          </c:val>
          <c:smooth val="0"/>
        </c:ser>
        <c:dLbls>
          <c:showLegendKey val="0"/>
          <c:showVal val="0"/>
          <c:showCatName val="0"/>
          <c:showSerName val="0"/>
          <c:showPercent val="0"/>
          <c:showBubbleSize val="0"/>
        </c:dLbls>
        <c:marker val="1"/>
        <c:smooth val="0"/>
        <c:axId val="217146448"/>
        <c:axId val="217146840"/>
      </c:lineChart>
      <c:catAx>
        <c:axId val="217146448"/>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46840"/>
        <c:crosses val="autoZero"/>
        <c:auto val="1"/>
        <c:lblAlgn val="ctr"/>
        <c:lblOffset val="100"/>
        <c:noMultiLvlLbl val="0"/>
      </c:catAx>
      <c:valAx>
        <c:axId val="217146840"/>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46448"/>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t>2G Handover Success Rate</a:t>
            </a:r>
            <a:endParaRPr lang="zh-CN" sz="1800" b="0" i="0" baseline="0"/>
          </a:p>
        </c:rich>
      </c:tx>
      <c:layout>
        <c:manualLayout>
          <c:xMode val="edge"/>
          <c:yMode val="edge"/>
          <c:x val="0.42510686164229572"/>
          <c:y val="2.4043824129208111E-2"/>
        </c:manualLayout>
      </c:layout>
      <c:overlay val="0"/>
      <c:spPr>
        <a:noFill/>
        <a:ln>
          <a:noFill/>
        </a:ln>
        <a:effectLst/>
      </c:spPr>
    </c:title>
    <c:autoTitleDeleted val="0"/>
    <c:plotArea>
      <c:layout/>
      <c:lineChart>
        <c:grouping val="standard"/>
        <c:varyColors val="0"/>
        <c:ser>
          <c:idx val="0"/>
          <c:order val="0"/>
          <c:tx>
            <c:strRef>
              <c:f>'H2 2015 Cluster Opt'!$B$86</c:f>
              <c:strCache>
                <c:ptCount val="1"/>
                <c:pt idx="0">
                  <c:v>Before</c:v>
                </c:pt>
              </c:strCache>
            </c:strRef>
          </c:tx>
          <c:spPr>
            <a:ln w="28575" cap="rnd">
              <a:solidFill>
                <a:srgbClr val="A89E80"/>
              </a:solidFill>
              <a:round/>
            </a:ln>
            <a:effectLst/>
          </c:spPr>
          <c:marker>
            <c:symbol val="circle"/>
            <c:size val="5"/>
            <c:spPr>
              <a:solidFill>
                <a:srgbClr val="7C7254"/>
              </a:solidFill>
              <a:ln w="9525">
                <a:solidFill>
                  <a:srgbClr val="A89E80"/>
                </a:solidFill>
              </a:ln>
              <a:effectLst/>
            </c:spPr>
          </c:marker>
          <c:cat>
            <c:strRef>
              <c:f>'H2 2015 Cluster Opt'!$C$85:$K$85</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86:$K$86</c:f>
              <c:numCache>
                <c:formatCode>0.00</c:formatCode>
                <c:ptCount val="9"/>
                <c:pt idx="0">
                  <c:v>100</c:v>
                </c:pt>
                <c:pt idx="1">
                  <c:v>100</c:v>
                </c:pt>
                <c:pt idx="2">
                  <c:v>99.83</c:v>
                </c:pt>
                <c:pt idx="3">
                  <c:v>99.09</c:v>
                </c:pt>
                <c:pt idx="4">
                  <c:v>99.51</c:v>
                </c:pt>
                <c:pt idx="5">
                  <c:v>99.16</c:v>
                </c:pt>
                <c:pt idx="6">
                  <c:v>100</c:v>
                </c:pt>
                <c:pt idx="7">
                  <c:v>100</c:v>
                </c:pt>
                <c:pt idx="8">
                  <c:v>100</c:v>
                </c:pt>
              </c:numCache>
            </c:numRef>
          </c:val>
          <c:smooth val="0"/>
        </c:ser>
        <c:ser>
          <c:idx val="1"/>
          <c:order val="1"/>
          <c:tx>
            <c:strRef>
              <c:f>'H2 2015 Cluster Opt'!$B$87</c:f>
              <c:strCache>
                <c:ptCount val="1"/>
                <c:pt idx="0">
                  <c:v>After</c:v>
                </c:pt>
              </c:strCache>
            </c:strRef>
          </c:tx>
          <c:spPr>
            <a:ln>
              <a:solidFill>
                <a:srgbClr val="99CC00"/>
              </a:solidFill>
            </a:ln>
          </c:spPr>
          <c:marker>
            <c:spPr>
              <a:solidFill>
                <a:srgbClr val="99CC00"/>
              </a:solidFill>
              <a:ln>
                <a:solidFill>
                  <a:srgbClr val="99CC00"/>
                </a:solidFill>
              </a:ln>
            </c:spPr>
          </c:marker>
          <c:cat>
            <c:strRef>
              <c:f>'H2 2015 Cluster Opt'!$C$85:$K$85</c:f>
              <c:strCache>
                <c:ptCount val="9"/>
                <c:pt idx="0">
                  <c:v>Chingola </c:v>
                </c:pt>
                <c:pt idx="1">
                  <c:v>Kabwe </c:v>
                </c:pt>
                <c:pt idx="2">
                  <c:v>Kitwe </c:v>
                </c:pt>
                <c:pt idx="3">
                  <c:v>Livingstone</c:v>
                </c:pt>
                <c:pt idx="4">
                  <c:v>Lusaka</c:v>
                </c:pt>
                <c:pt idx="5">
                  <c:v>Ndola </c:v>
                </c:pt>
                <c:pt idx="6">
                  <c:v>Solwezi </c:v>
                </c:pt>
                <c:pt idx="7">
                  <c:v>Mufulira </c:v>
                </c:pt>
                <c:pt idx="8">
                  <c:v>Luanshya</c:v>
                </c:pt>
              </c:strCache>
            </c:strRef>
          </c:cat>
          <c:val>
            <c:numRef>
              <c:f>'H2 2015 Cluster Opt'!$C$87:$K$87</c:f>
              <c:numCache>
                <c:formatCode>0.00</c:formatCode>
                <c:ptCount val="9"/>
                <c:pt idx="0">
                  <c:v>100</c:v>
                </c:pt>
                <c:pt idx="1">
                  <c:v>100</c:v>
                </c:pt>
                <c:pt idx="2">
                  <c:v>100</c:v>
                </c:pt>
                <c:pt idx="3">
                  <c:v>100</c:v>
                </c:pt>
                <c:pt idx="4">
                  <c:v>99.740000000000009</c:v>
                </c:pt>
                <c:pt idx="5">
                  <c:v>99.16</c:v>
                </c:pt>
                <c:pt idx="6">
                  <c:v>100</c:v>
                </c:pt>
                <c:pt idx="7">
                  <c:v>100</c:v>
                </c:pt>
                <c:pt idx="8">
                  <c:v>100</c:v>
                </c:pt>
              </c:numCache>
            </c:numRef>
          </c:val>
          <c:smooth val="0"/>
        </c:ser>
        <c:dLbls>
          <c:showLegendKey val="0"/>
          <c:showVal val="0"/>
          <c:showCatName val="0"/>
          <c:showSerName val="0"/>
          <c:showPercent val="0"/>
          <c:showBubbleSize val="0"/>
        </c:dLbls>
        <c:marker val="1"/>
        <c:smooth val="0"/>
        <c:axId val="217148016"/>
        <c:axId val="217148408"/>
      </c:lineChart>
      <c:catAx>
        <c:axId val="217148016"/>
        <c:scaling>
          <c:orientation val="minMax"/>
        </c:scaling>
        <c:delete val="0"/>
        <c:axPos val="b"/>
        <c:majorGridlines>
          <c:spPr>
            <a:ln w="9525" cap="flat" cmpd="sng" algn="ctr">
              <a:solidFill>
                <a:schemeClr val="tx1">
                  <a:tint val="75000"/>
                  <a:shade val="95000"/>
                  <a:satMod val="105000"/>
                </a:schemeClr>
              </a:solidFill>
              <a:round/>
            </a:ln>
            <a:effectLst/>
          </c:spPr>
        </c:majorGridlines>
        <c:numFmt formatCode="General" sourceLinked="1"/>
        <c:majorTickMark val="none"/>
        <c:minorTickMark val="none"/>
        <c:tickLblPos val="nextTo"/>
        <c:spPr>
          <a:noFill/>
          <a:ln w="9525" cap="flat" cmpd="sng" algn="ctr">
            <a:solidFill>
              <a:schemeClr val="tx1">
                <a:tint val="75000"/>
                <a:shade val="95000"/>
                <a:satMod val="10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48408"/>
        <c:crosses val="autoZero"/>
        <c:auto val="1"/>
        <c:lblAlgn val="ctr"/>
        <c:lblOffset val="100"/>
        <c:noMultiLvlLbl val="0"/>
      </c:catAx>
      <c:valAx>
        <c:axId val="21714840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7148016"/>
        <c:crosses val="autoZero"/>
        <c:crossBetween val="between"/>
      </c:valAx>
      <c:dTable>
        <c:showHorzBorder val="1"/>
        <c:showVertBorder val="1"/>
        <c:showOutline val="1"/>
        <c:showKeys val="1"/>
        <c:spPr>
          <a:noFill/>
          <a:ln w="9525" cap="flat" cmpd="sng" algn="ctr">
            <a:solidFill>
              <a:schemeClr val="tx1">
                <a:tint val="75000"/>
                <a:shade val="95000"/>
                <a:satMod val="105000"/>
              </a:schemeClr>
            </a:solidFill>
            <a:round/>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n-US"/>
          </a:p>
        </c:txPr>
      </c:dTable>
      <c:spPr>
        <a:noFill/>
        <a:ln>
          <a:solidFill>
            <a:schemeClr val="tx1">
              <a:tint val="75000"/>
              <a:shade val="95000"/>
              <a:satMod val="105000"/>
            </a:schemeClr>
          </a:solidFill>
        </a:ln>
        <a:effectLst/>
      </c:spPr>
    </c:plotArea>
    <c:plotVisOnly val="1"/>
    <c:dispBlanksAs val="gap"/>
    <c:showDLblsOverMax val="0"/>
  </c:chart>
  <c:spPr>
    <a:solidFill>
      <a:schemeClr val="bg1"/>
    </a:solidFill>
    <a:ln w="9525" cap="flat" cmpd="sng" algn="ctr">
      <a:solidFill>
        <a:schemeClr val="tx1">
          <a:tint val="75000"/>
          <a:shade val="95000"/>
          <a:satMod val="10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wmf"/></Relationships>
</file>

<file path=ppt/drawings/drawing1.xml><?xml version="1.0" encoding="utf-8"?>
<c:userShapes xmlns:c="http://schemas.openxmlformats.org/drawingml/2006/chart">
  <cdr:relSizeAnchor xmlns:cdr="http://schemas.openxmlformats.org/drawingml/2006/chartDrawing">
    <cdr:from>
      <cdr:x>0.22083</cdr:x>
      <cdr:y>0.19968</cdr:y>
    </cdr:from>
    <cdr:to>
      <cdr:x>0.22106</cdr:x>
      <cdr:y>0.8559</cdr:y>
    </cdr:to>
    <cdr:cxnSp macro="">
      <cdr:nvCxnSpPr>
        <cdr:cNvPr id="5" name="Straight Connector 4"/>
        <cdr:cNvCxnSpPr/>
      </cdr:nvCxnSpPr>
      <cdr:spPr>
        <a:xfrm xmlns:a="http://schemas.openxmlformats.org/drawingml/2006/main" flipH="1" flipV="1">
          <a:off x="1798392" y="547762"/>
          <a:ext cx="1873" cy="1800143"/>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9649</cdr:x>
      <cdr:y>0.19907</cdr:y>
    </cdr:from>
    <cdr:to>
      <cdr:x>0.24405</cdr:x>
      <cdr:y>0.20312</cdr:y>
    </cdr:to>
    <cdr:cxnSp macro="">
      <cdr:nvCxnSpPr>
        <cdr:cNvPr id="6" name="Straight Arrow Connector 5"/>
        <cdr:cNvCxnSpPr/>
      </cdr:nvCxnSpPr>
      <cdr:spPr>
        <a:xfrm xmlns:a="http://schemas.openxmlformats.org/drawingml/2006/main" flipH="1">
          <a:off x="1600170" y="546089"/>
          <a:ext cx="387323" cy="11110"/>
        </a:xfrm>
        <a:prstGeom xmlns:a="http://schemas.openxmlformats.org/drawingml/2006/main" prst="straightConnector1">
          <a:avLst/>
        </a:prstGeom>
        <a:ln xmlns:a="http://schemas.openxmlformats.org/drawingml/2006/main">
          <a:solidFill>
            <a:schemeClr val="tx1"/>
          </a:solidFill>
          <a:headEnd type="arrow"/>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215</cdr:x>
      <cdr:y>0.15741</cdr:y>
    </cdr:from>
    <cdr:to>
      <cdr:x>0.21053</cdr:x>
      <cdr:y>0.21296</cdr:y>
    </cdr:to>
    <cdr:sp macro="" textlink="">
      <cdr:nvSpPr>
        <cdr:cNvPr id="7" name="TextBox 12"/>
        <cdr:cNvSpPr txBox="1"/>
      </cdr:nvSpPr>
      <cdr:spPr>
        <a:xfrm xmlns:a="http://schemas.openxmlformats.org/drawingml/2006/main">
          <a:off x="831877" y="431807"/>
          <a:ext cx="882633" cy="15238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800" b="1" dirty="0"/>
            <a:t>Before Closing</a:t>
          </a:r>
        </a:p>
      </cdr:txBody>
    </cdr:sp>
  </cdr:relSizeAnchor>
  <cdr:relSizeAnchor xmlns:cdr="http://schemas.openxmlformats.org/drawingml/2006/chartDrawing">
    <cdr:from>
      <cdr:x>0.24405</cdr:x>
      <cdr:y>0.15741</cdr:y>
    </cdr:from>
    <cdr:to>
      <cdr:x>0.35244</cdr:x>
      <cdr:y>0.21296</cdr:y>
    </cdr:to>
    <cdr:sp macro="" textlink="">
      <cdr:nvSpPr>
        <cdr:cNvPr id="8" name="TextBox 13"/>
        <cdr:cNvSpPr txBox="1"/>
      </cdr:nvSpPr>
      <cdr:spPr>
        <a:xfrm xmlns:a="http://schemas.openxmlformats.org/drawingml/2006/main">
          <a:off x="1987493" y="431807"/>
          <a:ext cx="882715" cy="15238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800" b="1"/>
            <a:t>After Closing</a:t>
          </a:r>
        </a:p>
      </cdr:txBody>
    </cdr:sp>
  </cdr:relSizeAnchor>
</c:userShapes>
</file>

<file path=ppt/drawings/drawing2.xml><?xml version="1.0" encoding="utf-8"?>
<c:userShapes xmlns:c="http://schemas.openxmlformats.org/drawingml/2006/chart">
  <cdr:relSizeAnchor xmlns:cdr="http://schemas.openxmlformats.org/drawingml/2006/chartDrawing">
    <cdr:from>
      <cdr:x>0.35</cdr:x>
      <cdr:y>0.35135</cdr:y>
    </cdr:from>
    <cdr:to>
      <cdr:x>0.50833</cdr:x>
      <cdr:y>0.72973</cdr:y>
    </cdr:to>
    <cdr:sp macro="" textlink="">
      <cdr:nvSpPr>
        <cdr:cNvPr id="2" name="Oval 1"/>
        <cdr:cNvSpPr/>
      </cdr:nvSpPr>
      <cdr:spPr>
        <a:xfrm xmlns:a="http://schemas.openxmlformats.org/drawingml/2006/main">
          <a:off x="3200400" y="990599"/>
          <a:ext cx="1447800" cy="1066800"/>
        </a:xfrm>
        <a:prstGeom xmlns:a="http://schemas.openxmlformats.org/drawingml/2006/main" prst="ellipse">
          <a:avLst/>
        </a:prstGeom>
        <a:solidFill xmlns:a="http://schemas.openxmlformats.org/drawingml/2006/main">
          <a:srgbClr val="272727">
            <a:alpha val="0"/>
          </a:srgbClr>
        </a:solidFill>
        <a:ln xmlns:a="http://schemas.openxmlformats.org/drawingml/2006/main" w="25400" cap="flat" cmpd="sng" algn="ctr">
          <a:solidFill>
            <a:srgbClr val="272727"/>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rtl="0" fontAlgn="base">
            <a:spcBef>
              <a:spcPct val="0"/>
            </a:spcBef>
            <a:spcAft>
              <a:spcPct val="0"/>
            </a:spcAft>
            <a:defRPr kern="1200">
              <a:solidFill>
                <a:sysClr val="window" lastClr="FFFFFF"/>
              </a:solidFill>
              <a:latin typeface="Verdana"/>
            </a:defRPr>
          </a:lvl1pPr>
          <a:lvl2pPr marL="455613" indent="1588" algn="l" rtl="0" fontAlgn="base">
            <a:spcBef>
              <a:spcPct val="0"/>
            </a:spcBef>
            <a:spcAft>
              <a:spcPct val="0"/>
            </a:spcAft>
            <a:defRPr kern="1200">
              <a:solidFill>
                <a:sysClr val="window" lastClr="FFFFFF"/>
              </a:solidFill>
              <a:latin typeface="Verdana"/>
            </a:defRPr>
          </a:lvl2pPr>
          <a:lvl3pPr marL="912813" indent="1588" algn="l" rtl="0" fontAlgn="base">
            <a:spcBef>
              <a:spcPct val="0"/>
            </a:spcBef>
            <a:spcAft>
              <a:spcPct val="0"/>
            </a:spcAft>
            <a:defRPr kern="1200">
              <a:solidFill>
                <a:sysClr val="window" lastClr="FFFFFF"/>
              </a:solidFill>
              <a:latin typeface="Verdana"/>
            </a:defRPr>
          </a:lvl3pPr>
          <a:lvl4pPr marL="1370013" indent="1588" algn="l" rtl="0" fontAlgn="base">
            <a:spcBef>
              <a:spcPct val="0"/>
            </a:spcBef>
            <a:spcAft>
              <a:spcPct val="0"/>
            </a:spcAft>
            <a:defRPr kern="1200">
              <a:solidFill>
                <a:sysClr val="window" lastClr="FFFFFF"/>
              </a:solidFill>
              <a:latin typeface="Verdana"/>
            </a:defRPr>
          </a:lvl4pPr>
          <a:lvl5pPr marL="1827213" indent="1588" algn="l" rtl="0" fontAlgn="base">
            <a:spcBef>
              <a:spcPct val="0"/>
            </a:spcBef>
            <a:spcAft>
              <a:spcPct val="0"/>
            </a:spcAft>
            <a:defRPr kern="1200">
              <a:solidFill>
                <a:sysClr val="window" lastClr="FFFFFF"/>
              </a:solidFill>
              <a:latin typeface="Verdana"/>
            </a:defRPr>
          </a:lvl5pPr>
          <a:lvl6pPr marL="2286000" algn="l" defTabSz="914400" rtl="0" eaLnBrk="1" latinLnBrk="0" hangingPunct="1">
            <a:defRPr kern="1200">
              <a:solidFill>
                <a:sysClr val="window" lastClr="FFFFFF"/>
              </a:solidFill>
              <a:latin typeface="Verdana"/>
            </a:defRPr>
          </a:lvl6pPr>
          <a:lvl7pPr marL="2743200" algn="l" defTabSz="914400" rtl="0" eaLnBrk="1" latinLnBrk="0" hangingPunct="1">
            <a:defRPr kern="1200">
              <a:solidFill>
                <a:sysClr val="window" lastClr="FFFFFF"/>
              </a:solidFill>
              <a:latin typeface="Verdana"/>
            </a:defRPr>
          </a:lvl7pPr>
          <a:lvl8pPr marL="3200400" algn="l" defTabSz="914400" rtl="0" eaLnBrk="1" latinLnBrk="0" hangingPunct="1">
            <a:defRPr kern="1200">
              <a:solidFill>
                <a:sysClr val="window" lastClr="FFFFFF"/>
              </a:solidFill>
              <a:latin typeface="Verdana"/>
            </a:defRPr>
          </a:lvl8pPr>
          <a:lvl9pPr marL="3657600" algn="l" defTabSz="914400" rtl="0" eaLnBrk="1" latinLnBrk="0" hangingPunct="1">
            <a:defRPr kern="1200">
              <a:solidFill>
                <a:sysClr val="window" lastClr="FFFFFF"/>
              </a:solidFill>
              <a:latin typeface="Verdana"/>
            </a:defRPr>
          </a:lvl9pPr>
        </a:lstStyle>
        <a:p xmlns:a="http://schemas.openxmlformats.org/drawingml/2006/main">
          <a:pPr algn="ctr"/>
          <a:endParaRPr lang="en-US"/>
        </a:p>
      </cdr:txBody>
    </cdr:sp>
  </cdr:relSizeAnchor>
  <cdr:relSizeAnchor xmlns:cdr="http://schemas.openxmlformats.org/drawingml/2006/chartDrawing">
    <cdr:from>
      <cdr:x>0.23333</cdr:x>
      <cdr:y>0.35135</cdr:y>
    </cdr:from>
    <cdr:to>
      <cdr:x>0.33333</cdr:x>
      <cdr:y>0.51351</cdr:y>
    </cdr:to>
    <cdr:sp macro="" textlink="">
      <cdr:nvSpPr>
        <cdr:cNvPr id="3" name="Oval 2"/>
        <cdr:cNvSpPr/>
      </cdr:nvSpPr>
      <cdr:spPr>
        <a:xfrm xmlns:a="http://schemas.openxmlformats.org/drawingml/2006/main">
          <a:off x="2133600" y="990599"/>
          <a:ext cx="914400" cy="457200"/>
        </a:xfrm>
        <a:prstGeom xmlns:a="http://schemas.openxmlformats.org/drawingml/2006/main" prst="ellipse">
          <a:avLst/>
        </a:prstGeom>
        <a:solidFill xmlns:a="http://schemas.openxmlformats.org/drawingml/2006/main">
          <a:srgbClr val="272727">
            <a:alpha val="0"/>
          </a:srgbClr>
        </a:solidFill>
        <a:ln xmlns:a="http://schemas.openxmlformats.org/drawingml/2006/main" w="25400" cap="flat" cmpd="sng" algn="ctr">
          <a:solidFill>
            <a:srgbClr val="272727"/>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algn="l" rtl="0" fontAlgn="base">
            <a:spcBef>
              <a:spcPct val="0"/>
            </a:spcBef>
            <a:spcAft>
              <a:spcPct val="0"/>
            </a:spcAft>
            <a:defRPr kern="1200">
              <a:solidFill>
                <a:sysClr val="window" lastClr="FFFFFF"/>
              </a:solidFill>
              <a:latin typeface="Verdana"/>
            </a:defRPr>
          </a:lvl1pPr>
          <a:lvl2pPr marL="455613" indent="1588" algn="l" rtl="0" fontAlgn="base">
            <a:spcBef>
              <a:spcPct val="0"/>
            </a:spcBef>
            <a:spcAft>
              <a:spcPct val="0"/>
            </a:spcAft>
            <a:defRPr kern="1200">
              <a:solidFill>
                <a:sysClr val="window" lastClr="FFFFFF"/>
              </a:solidFill>
              <a:latin typeface="Verdana"/>
            </a:defRPr>
          </a:lvl2pPr>
          <a:lvl3pPr marL="912813" indent="1588" algn="l" rtl="0" fontAlgn="base">
            <a:spcBef>
              <a:spcPct val="0"/>
            </a:spcBef>
            <a:spcAft>
              <a:spcPct val="0"/>
            </a:spcAft>
            <a:defRPr kern="1200">
              <a:solidFill>
                <a:sysClr val="window" lastClr="FFFFFF"/>
              </a:solidFill>
              <a:latin typeface="Verdana"/>
            </a:defRPr>
          </a:lvl3pPr>
          <a:lvl4pPr marL="1370013" indent="1588" algn="l" rtl="0" fontAlgn="base">
            <a:spcBef>
              <a:spcPct val="0"/>
            </a:spcBef>
            <a:spcAft>
              <a:spcPct val="0"/>
            </a:spcAft>
            <a:defRPr kern="1200">
              <a:solidFill>
                <a:sysClr val="window" lastClr="FFFFFF"/>
              </a:solidFill>
              <a:latin typeface="Verdana"/>
            </a:defRPr>
          </a:lvl4pPr>
          <a:lvl5pPr marL="1827213" indent="1588" algn="l" rtl="0" fontAlgn="base">
            <a:spcBef>
              <a:spcPct val="0"/>
            </a:spcBef>
            <a:spcAft>
              <a:spcPct val="0"/>
            </a:spcAft>
            <a:defRPr kern="1200">
              <a:solidFill>
                <a:sysClr val="window" lastClr="FFFFFF"/>
              </a:solidFill>
              <a:latin typeface="Verdana"/>
            </a:defRPr>
          </a:lvl5pPr>
          <a:lvl6pPr marL="2286000" algn="l" defTabSz="914400" rtl="0" eaLnBrk="1" latinLnBrk="0" hangingPunct="1">
            <a:defRPr kern="1200">
              <a:solidFill>
                <a:sysClr val="window" lastClr="FFFFFF"/>
              </a:solidFill>
              <a:latin typeface="Verdana"/>
            </a:defRPr>
          </a:lvl6pPr>
          <a:lvl7pPr marL="2743200" algn="l" defTabSz="914400" rtl="0" eaLnBrk="1" latinLnBrk="0" hangingPunct="1">
            <a:defRPr kern="1200">
              <a:solidFill>
                <a:sysClr val="window" lastClr="FFFFFF"/>
              </a:solidFill>
              <a:latin typeface="Verdana"/>
            </a:defRPr>
          </a:lvl7pPr>
          <a:lvl8pPr marL="3200400" algn="l" defTabSz="914400" rtl="0" eaLnBrk="1" latinLnBrk="0" hangingPunct="1">
            <a:defRPr kern="1200">
              <a:solidFill>
                <a:sysClr val="window" lastClr="FFFFFF"/>
              </a:solidFill>
              <a:latin typeface="Verdana"/>
            </a:defRPr>
          </a:lvl8pPr>
          <a:lvl9pPr marL="3657600" algn="l" defTabSz="914400" rtl="0" eaLnBrk="1" latinLnBrk="0" hangingPunct="1">
            <a:defRPr kern="1200">
              <a:solidFill>
                <a:sysClr val="window" lastClr="FFFFFF"/>
              </a:solidFill>
              <a:latin typeface="Verdana"/>
            </a:defRPr>
          </a:lvl9pPr>
        </a:lstStyle>
        <a:p xmlns:a="http://schemas.openxmlformats.org/drawingml/2006/main">
          <a:pPr algn="ctr"/>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E51326FB-097E-4539-B5F3-0521B2B80A62}" type="datetimeFigureOut">
              <a:rPr lang="en-US"/>
              <a:pPr/>
              <a:t>17/03/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D085387C-3D6E-43D3-9637-2E593300C008}" type="slidenum">
              <a:rPr lang="en-US"/>
              <a:pPr/>
              <a:t>‹#›</a:t>
            </a:fld>
            <a:endParaRPr lang="en-US"/>
          </a:p>
        </p:txBody>
      </p:sp>
    </p:spTree>
    <p:extLst>
      <p:ext uri="{BB962C8B-B14F-4D97-AF65-F5344CB8AC3E}">
        <p14:creationId xmlns:p14="http://schemas.microsoft.com/office/powerpoint/2010/main" val="15084577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US" altLang="zh-CN"/>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B2D59D1D-0EF3-4E4A-8F21-620F43DD2B50}" type="datetimeFigureOut">
              <a:rPr lang="en-US" altLang="zh-CN"/>
              <a:pPr/>
              <a:t>17/03/2016</a:t>
            </a:fld>
            <a:endParaRPr lang="en-US" altLang="zh-C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US" altLang="zh-C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87F2C347-52D0-4504-994E-CBB2CAE4947B}" type="slidenum">
              <a:rPr lang="en-US" altLang="zh-CN"/>
              <a:pPr/>
              <a:t>‹#›</a:t>
            </a:fld>
            <a:endParaRPr lang="en-US" altLang="zh-CN"/>
          </a:p>
        </p:txBody>
      </p:sp>
    </p:spTree>
    <p:extLst>
      <p:ext uri="{BB962C8B-B14F-4D97-AF65-F5344CB8AC3E}">
        <p14:creationId xmlns:p14="http://schemas.microsoft.com/office/powerpoint/2010/main" val="333581276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6471" algn="l" rtl="0" eaLnBrk="0" fontAlgn="base" hangingPunct="0">
      <a:spcBef>
        <a:spcPct val="30000"/>
      </a:spcBef>
      <a:spcAft>
        <a:spcPct val="0"/>
      </a:spcAft>
      <a:defRPr sz="1200" kern="1200">
        <a:solidFill>
          <a:schemeClr val="tx1"/>
        </a:solidFill>
        <a:latin typeface="+mn-lt"/>
        <a:ea typeface="+mn-ea"/>
        <a:cs typeface="+mn-cs"/>
      </a:defRPr>
    </a:lvl2pPr>
    <a:lvl3pPr marL="912937" algn="l" rtl="0" eaLnBrk="0" fontAlgn="base" hangingPunct="0">
      <a:spcBef>
        <a:spcPct val="30000"/>
      </a:spcBef>
      <a:spcAft>
        <a:spcPct val="0"/>
      </a:spcAft>
      <a:defRPr sz="1200" kern="1200">
        <a:solidFill>
          <a:schemeClr val="tx1"/>
        </a:solidFill>
        <a:latin typeface="+mn-lt"/>
        <a:ea typeface="+mn-ea"/>
        <a:cs typeface="+mn-cs"/>
      </a:defRPr>
    </a:lvl3pPr>
    <a:lvl4pPr marL="1369410" algn="l" rtl="0" eaLnBrk="0" fontAlgn="base" hangingPunct="0">
      <a:spcBef>
        <a:spcPct val="30000"/>
      </a:spcBef>
      <a:spcAft>
        <a:spcPct val="0"/>
      </a:spcAft>
      <a:defRPr sz="1200" kern="1200">
        <a:solidFill>
          <a:schemeClr val="tx1"/>
        </a:solidFill>
        <a:latin typeface="+mn-lt"/>
        <a:ea typeface="+mn-ea"/>
        <a:cs typeface="+mn-cs"/>
      </a:defRPr>
    </a:lvl4pPr>
    <a:lvl5pPr marL="1825875" algn="l" rtl="0" eaLnBrk="0" fontAlgn="base" hangingPunct="0">
      <a:spcBef>
        <a:spcPct val="30000"/>
      </a:spcBef>
      <a:spcAft>
        <a:spcPct val="0"/>
      </a:spcAft>
      <a:defRPr sz="1200" kern="1200">
        <a:solidFill>
          <a:schemeClr val="tx1"/>
        </a:solidFill>
        <a:latin typeface="+mn-lt"/>
        <a:ea typeface="+mn-ea"/>
        <a:cs typeface="+mn-cs"/>
      </a:defRPr>
    </a:lvl5pPr>
    <a:lvl6pPr marL="2282345" algn="l" defTabSz="912937" rtl="0" eaLnBrk="1" latinLnBrk="0" hangingPunct="1">
      <a:defRPr sz="1200" kern="1200">
        <a:solidFill>
          <a:schemeClr val="tx1"/>
        </a:solidFill>
        <a:latin typeface="+mn-lt"/>
        <a:ea typeface="+mn-ea"/>
        <a:cs typeface="+mn-cs"/>
      </a:defRPr>
    </a:lvl6pPr>
    <a:lvl7pPr marL="2738813" algn="l" defTabSz="912937" rtl="0" eaLnBrk="1" latinLnBrk="0" hangingPunct="1">
      <a:defRPr sz="1200" kern="1200">
        <a:solidFill>
          <a:schemeClr val="tx1"/>
        </a:solidFill>
        <a:latin typeface="+mn-lt"/>
        <a:ea typeface="+mn-ea"/>
        <a:cs typeface="+mn-cs"/>
      </a:defRPr>
    </a:lvl7pPr>
    <a:lvl8pPr marL="3195285" algn="l" defTabSz="912937" rtl="0" eaLnBrk="1" latinLnBrk="0" hangingPunct="1">
      <a:defRPr sz="1200" kern="1200">
        <a:solidFill>
          <a:schemeClr val="tx1"/>
        </a:solidFill>
        <a:latin typeface="+mn-lt"/>
        <a:ea typeface="+mn-ea"/>
        <a:cs typeface="+mn-cs"/>
      </a:defRPr>
    </a:lvl8pPr>
    <a:lvl9pPr marL="3651750" algn="l" defTabSz="91293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zh-CN" dirty="0" smtClean="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hangingPunct="1"/>
            <a:fld id="{AE889D39-904F-49E3-8F60-C98FF2B7385A}" type="slidenum">
              <a:rPr lang="en-ZA" altLang="zh-CN"/>
              <a:pPr eaLnBrk="1" hangingPunct="1"/>
              <a:t>1</a:t>
            </a:fld>
            <a:endParaRPr lang="en-ZA" altLang="zh-CN" dirty="0"/>
          </a:p>
        </p:txBody>
      </p:sp>
    </p:spTree>
    <p:extLst>
      <p:ext uri="{BB962C8B-B14F-4D97-AF65-F5344CB8AC3E}">
        <p14:creationId xmlns:p14="http://schemas.microsoft.com/office/powerpoint/2010/main" val="3677480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67DB1D-DF8A-49AD-ACF2-A319681C57A1}" type="slidenum">
              <a:rPr lang="en-US" smtClean="0"/>
              <a:pPr/>
              <a:t>5</a:t>
            </a:fld>
            <a:endParaRPr lang="en-US"/>
          </a:p>
        </p:txBody>
      </p:sp>
    </p:spTree>
    <p:extLst>
      <p:ext uri="{BB962C8B-B14F-4D97-AF65-F5344CB8AC3E}">
        <p14:creationId xmlns:p14="http://schemas.microsoft.com/office/powerpoint/2010/main" val="1288910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zh-CN" dirty="0" smtClean="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hangingPunct="1"/>
            <a:fld id="{AE889D39-904F-49E3-8F60-C98FF2B7385A}" type="slidenum">
              <a:rPr lang="en-ZA" altLang="zh-CN">
                <a:solidFill>
                  <a:prstClr val="black"/>
                </a:solidFill>
              </a:rPr>
              <a:pPr eaLnBrk="1" hangingPunct="1"/>
              <a:t>19</a:t>
            </a:fld>
            <a:endParaRPr lang="en-ZA" altLang="zh-CN" dirty="0">
              <a:solidFill>
                <a:prstClr val="black"/>
              </a:solidFill>
            </a:endParaRPr>
          </a:p>
        </p:txBody>
      </p:sp>
    </p:spTree>
    <p:extLst>
      <p:ext uri="{BB962C8B-B14F-4D97-AF65-F5344CB8AC3E}">
        <p14:creationId xmlns:p14="http://schemas.microsoft.com/office/powerpoint/2010/main" val="2107842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6471" indent="0" algn="ctr">
              <a:buNone/>
              <a:defRPr>
                <a:solidFill>
                  <a:schemeClr val="tx1">
                    <a:tint val="75000"/>
                  </a:schemeClr>
                </a:solidFill>
              </a:defRPr>
            </a:lvl2pPr>
            <a:lvl3pPr marL="912937" indent="0" algn="ctr">
              <a:buNone/>
              <a:defRPr>
                <a:solidFill>
                  <a:schemeClr val="tx1">
                    <a:tint val="75000"/>
                  </a:schemeClr>
                </a:solidFill>
              </a:defRPr>
            </a:lvl3pPr>
            <a:lvl4pPr marL="1369410" indent="0" algn="ctr">
              <a:buNone/>
              <a:defRPr>
                <a:solidFill>
                  <a:schemeClr val="tx1">
                    <a:tint val="75000"/>
                  </a:schemeClr>
                </a:solidFill>
              </a:defRPr>
            </a:lvl4pPr>
            <a:lvl5pPr marL="1825875" indent="0" algn="ctr">
              <a:buNone/>
              <a:defRPr>
                <a:solidFill>
                  <a:schemeClr val="tx1">
                    <a:tint val="75000"/>
                  </a:schemeClr>
                </a:solidFill>
              </a:defRPr>
            </a:lvl5pPr>
            <a:lvl6pPr marL="2282345" indent="0" algn="ctr">
              <a:buNone/>
              <a:defRPr>
                <a:solidFill>
                  <a:schemeClr val="tx1">
                    <a:tint val="75000"/>
                  </a:schemeClr>
                </a:solidFill>
              </a:defRPr>
            </a:lvl6pPr>
            <a:lvl7pPr marL="2738813" indent="0" algn="ctr">
              <a:buNone/>
              <a:defRPr>
                <a:solidFill>
                  <a:schemeClr val="tx1">
                    <a:tint val="75000"/>
                  </a:schemeClr>
                </a:solidFill>
              </a:defRPr>
            </a:lvl7pPr>
            <a:lvl8pPr marL="3195285" indent="0" algn="ctr">
              <a:buNone/>
              <a:defRPr>
                <a:solidFill>
                  <a:schemeClr val="tx1">
                    <a:tint val="75000"/>
                  </a:schemeClr>
                </a:solidFill>
              </a:defRPr>
            </a:lvl8pPr>
            <a:lvl9pPr marL="365175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95203076-3650-428B-9B01-6064D0B5D212}" type="datetimeFigureOut">
              <a:rPr lang="en-US" altLang="zh-CN"/>
              <a:pPr/>
              <a:t>17/03/2016</a:t>
            </a:fld>
            <a:endParaRPr lang="en-US" altLang="zh-CN"/>
          </a:p>
        </p:txBody>
      </p:sp>
      <p:sp>
        <p:nvSpPr>
          <p:cNvPr id="5" name="Footer Placeholder 4"/>
          <p:cNvSpPr>
            <a:spLocks noGrp="1"/>
          </p:cNvSpPr>
          <p:nvPr>
            <p:ph type="ftr" sz="quarter" idx="11"/>
          </p:nvPr>
        </p:nvSpPr>
        <p:spPr/>
        <p:txBody>
          <a:bodyPr/>
          <a:lstStyle>
            <a:lvl1pPr>
              <a:defRPr/>
            </a:lvl1pPr>
          </a:lstStyle>
          <a:p>
            <a:endParaRPr lang="en-US" altLang="zh-CN"/>
          </a:p>
        </p:txBody>
      </p:sp>
      <p:sp>
        <p:nvSpPr>
          <p:cNvPr id="6" name="Slide Number Placeholder 5"/>
          <p:cNvSpPr>
            <a:spLocks noGrp="1"/>
          </p:cNvSpPr>
          <p:nvPr>
            <p:ph type="sldNum" sz="quarter" idx="12"/>
          </p:nvPr>
        </p:nvSpPr>
        <p:spPr/>
        <p:txBody>
          <a:bodyPr/>
          <a:lstStyle>
            <a:lvl1pPr>
              <a:defRPr/>
            </a:lvl1pPr>
          </a:lstStyle>
          <a:p>
            <a:fld id="{CBFABD83-3B3D-4986-AE3B-75F1BDE21AA8}" type="slidenum">
              <a:rPr lang="en-US" altLang="zh-CN"/>
              <a:pPr/>
              <a:t>‹#›</a:t>
            </a:fld>
            <a:endParaRPr lang="en-US" altLang="zh-CN"/>
          </a:p>
        </p:txBody>
      </p:sp>
    </p:spTree>
    <p:extLst>
      <p:ext uri="{BB962C8B-B14F-4D97-AF65-F5344CB8AC3E}">
        <p14:creationId xmlns:p14="http://schemas.microsoft.com/office/powerpoint/2010/main" val="2824698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56556362-CA1C-4679-935F-09C0FA99AC92}" type="datetimeFigureOut">
              <a:rPr lang="en-US" altLang="zh-CN"/>
              <a:pPr/>
              <a:t>17/03/2016</a:t>
            </a:fld>
            <a:endParaRPr lang="en-US" altLang="zh-CN"/>
          </a:p>
        </p:txBody>
      </p:sp>
      <p:sp>
        <p:nvSpPr>
          <p:cNvPr id="5" name="Footer Placeholder 4"/>
          <p:cNvSpPr>
            <a:spLocks noGrp="1"/>
          </p:cNvSpPr>
          <p:nvPr>
            <p:ph type="ftr" sz="quarter" idx="11"/>
          </p:nvPr>
        </p:nvSpPr>
        <p:spPr/>
        <p:txBody>
          <a:bodyPr/>
          <a:lstStyle>
            <a:lvl1pPr>
              <a:defRPr/>
            </a:lvl1pPr>
          </a:lstStyle>
          <a:p>
            <a:endParaRPr lang="en-US" altLang="zh-CN"/>
          </a:p>
        </p:txBody>
      </p:sp>
      <p:sp>
        <p:nvSpPr>
          <p:cNvPr id="6" name="Slide Number Placeholder 5"/>
          <p:cNvSpPr>
            <a:spLocks noGrp="1"/>
          </p:cNvSpPr>
          <p:nvPr>
            <p:ph type="sldNum" sz="quarter" idx="12"/>
          </p:nvPr>
        </p:nvSpPr>
        <p:spPr/>
        <p:txBody>
          <a:bodyPr/>
          <a:lstStyle>
            <a:lvl1pPr>
              <a:defRPr/>
            </a:lvl1pPr>
          </a:lstStyle>
          <a:p>
            <a:fld id="{357357A0-BB82-4065-BADC-6F1BB1411ABD}" type="slidenum">
              <a:rPr lang="en-US" altLang="zh-CN"/>
              <a:pPr/>
              <a:t>‹#›</a:t>
            </a:fld>
            <a:endParaRPr lang="en-US" altLang="zh-CN"/>
          </a:p>
        </p:txBody>
      </p:sp>
    </p:spTree>
    <p:extLst>
      <p:ext uri="{BB962C8B-B14F-4D97-AF65-F5344CB8AC3E}">
        <p14:creationId xmlns:p14="http://schemas.microsoft.com/office/powerpoint/2010/main" val="738311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6AD78A1F-18E3-4257-ADB0-A8B4150F722F}" type="datetimeFigureOut">
              <a:rPr lang="en-US" altLang="zh-CN"/>
              <a:pPr/>
              <a:t>17/03/2016</a:t>
            </a:fld>
            <a:endParaRPr lang="en-US" altLang="zh-CN"/>
          </a:p>
        </p:txBody>
      </p:sp>
      <p:sp>
        <p:nvSpPr>
          <p:cNvPr id="5" name="Footer Placeholder 4"/>
          <p:cNvSpPr>
            <a:spLocks noGrp="1"/>
          </p:cNvSpPr>
          <p:nvPr>
            <p:ph type="ftr" sz="quarter" idx="11"/>
          </p:nvPr>
        </p:nvSpPr>
        <p:spPr/>
        <p:txBody>
          <a:bodyPr/>
          <a:lstStyle>
            <a:lvl1pPr>
              <a:defRPr/>
            </a:lvl1pPr>
          </a:lstStyle>
          <a:p>
            <a:endParaRPr lang="en-US" altLang="zh-CN"/>
          </a:p>
        </p:txBody>
      </p:sp>
      <p:sp>
        <p:nvSpPr>
          <p:cNvPr id="6" name="Slide Number Placeholder 5"/>
          <p:cNvSpPr>
            <a:spLocks noGrp="1"/>
          </p:cNvSpPr>
          <p:nvPr>
            <p:ph type="sldNum" sz="quarter" idx="12"/>
          </p:nvPr>
        </p:nvSpPr>
        <p:spPr/>
        <p:txBody>
          <a:bodyPr/>
          <a:lstStyle>
            <a:lvl1pPr>
              <a:defRPr/>
            </a:lvl1pPr>
          </a:lstStyle>
          <a:p>
            <a:fld id="{45E16D57-270E-4409-A15A-90E9ACE42D7E}" type="slidenum">
              <a:rPr lang="en-US" altLang="zh-CN"/>
              <a:pPr/>
              <a:t>‹#›</a:t>
            </a:fld>
            <a:endParaRPr lang="en-US" altLang="zh-CN"/>
          </a:p>
        </p:txBody>
      </p:sp>
    </p:spTree>
    <p:extLst>
      <p:ext uri="{BB962C8B-B14F-4D97-AF65-F5344CB8AC3E}">
        <p14:creationId xmlns:p14="http://schemas.microsoft.com/office/powerpoint/2010/main" val="2914821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5278625"/>
            <a:ext cx="7146000" cy="507831"/>
          </a:xfrm>
          <a:prstGeom prst="rect">
            <a:avLst/>
          </a:prstGeom>
          <a:noFill/>
        </p:spPr>
        <p:txBody>
          <a:bodyPr wrap="none" lIns="449201">
            <a:noAutofit/>
          </a:bodyPr>
          <a:lstStyle>
            <a:lvl1pPr algn="l">
              <a:defRPr sz="2800" b="1" baseline="0">
                <a:solidFill>
                  <a:srgbClr val="272727"/>
                </a:solidFill>
              </a:defRPr>
            </a:lvl1pPr>
          </a:lstStyle>
          <a:p>
            <a:r>
              <a:rPr lang="en-US" smtClean="0"/>
              <a:t>Click to edit Master title style</a:t>
            </a:r>
            <a:endParaRPr lang="en-ZA" dirty="0"/>
          </a:p>
        </p:txBody>
      </p:sp>
      <p:sp>
        <p:nvSpPr>
          <p:cNvPr id="9" name="Text Placeholder 8"/>
          <p:cNvSpPr>
            <a:spLocks noGrp="1"/>
          </p:cNvSpPr>
          <p:nvPr>
            <p:ph type="body" sz="quarter" idx="10"/>
          </p:nvPr>
        </p:nvSpPr>
        <p:spPr>
          <a:xfrm>
            <a:off x="0" y="5815482"/>
            <a:ext cx="7146000" cy="399600"/>
          </a:xfrm>
          <a:noFill/>
        </p:spPr>
        <p:txBody>
          <a:bodyPr lIns="449281">
            <a:noAutofit/>
          </a:bodyPr>
          <a:lstStyle>
            <a:lvl1pPr>
              <a:buNone/>
              <a:defRPr sz="2000"/>
            </a:lvl1pPr>
          </a:lstStyle>
          <a:p>
            <a:pPr lvl="0"/>
            <a:r>
              <a:rPr lang="en-US" smtClean="0"/>
              <a:t>Click to edit Master text styles</a:t>
            </a:r>
          </a:p>
        </p:txBody>
      </p:sp>
    </p:spTree>
    <p:extLst>
      <p:ext uri="{BB962C8B-B14F-4D97-AF65-F5344CB8AC3E}">
        <p14:creationId xmlns:p14="http://schemas.microsoft.com/office/powerpoint/2010/main" val="33485838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mber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4" y="214292"/>
            <a:ext cx="7715271" cy="571482"/>
          </a:xfrm>
          <a:prstGeom prst="rect">
            <a:avLst/>
          </a:prstGeom>
        </p:spPr>
        <p:txBody>
          <a:bodyPr lIns="449201"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0" y="1071546"/>
            <a:ext cx="9144000" cy="5357850"/>
          </a:xfrm>
          <a:prstGeom prst="rect">
            <a:avLst/>
          </a:prstGeom>
        </p:spPr>
        <p:txBody>
          <a:bodyPr lIns="628880" tIns="287488"/>
          <a:lstStyle>
            <a:lvl1pPr marL="513434" indent="-513434">
              <a:buFont typeface="+mj-lt"/>
              <a:buAutoNum type="arabicPeriod"/>
              <a:defRPr sz="2000"/>
            </a:lvl1pPr>
            <a:lvl2pPr marL="798677" indent="-342292">
              <a:buFont typeface="+mj-lt"/>
              <a:buAutoNum type="arabicPeriod"/>
              <a:defRPr sz="1800">
                <a:solidFill>
                  <a:srgbClr val="272727"/>
                </a:solidFill>
              </a:defRPr>
            </a:lvl2pPr>
            <a:lvl3pPr marL="1255071" indent="-342292">
              <a:buFont typeface="+mj-lt"/>
              <a:buAutoNum type="arabicPeriod"/>
              <a:defRPr sz="1800">
                <a:solidFill>
                  <a:srgbClr val="272727"/>
                </a:solidFill>
              </a:defRPr>
            </a:lvl3pPr>
            <a:lvl4pPr marL="1711456" indent="-342292">
              <a:buFont typeface="+mj-lt"/>
              <a:buAutoNum type="arabicPeriod"/>
              <a:defRPr sz="1800">
                <a:solidFill>
                  <a:srgbClr val="272727"/>
                </a:solidFill>
              </a:defRPr>
            </a:lvl4pPr>
            <a:lvl5pPr marL="2167844" indent="-342292">
              <a:buFont typeface="+mj-lt"/>
              <a:buAutoNum type="arabicPeriod"/>
              <a:defRPr sz="1800" baseline="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Slide Number Placeholder 3"/>
          <p:cNvSpPr>
            <a:spLocks noGrp="1"/>
          </p:cNvSpPr>
          <p:nvPr userDrawn="1">
            <p:ph type="sldNum" sz="quarter" idx="12"/>
          </p:nvPr>
        </p:nvSpPr>
        <p:spPr>
          <a:xfrm>
            <a:off x="8715376" y="6470652"/>
            <a:ext cx="428625" cy="365125"/>
          </a:xfrm>
          <a:prstGeom prst="rect">
            <a:avLst/>
          </a:prstGeom>
        </p:spPr>
        <p:txBody>
          <a:bodyPr vert="horz" wrap="square" lIns="91293" tIns="45646" rIns="91293" bIns="45646"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fld id="{E412DC20-5BDB-427E-8CDD-2FCF6B52B522}" type="slidenum">
              <a:rPr lang="en-ZA" altLang="zh-CN"/>
              <a:pPr/>
              <a:t>‹#›</a:t>
            </a:fld>
            <a:endParaRPr lang="en-ZA" altLang="zh-CN"/>
          </a:p>
        </p:txBody>
      </p:sp>
    </p:spTree>
    <p:extLst>
      <p:ext uri="{BB962C8B-B14F-4D97-AF65-F5344CB8AC3E}">
        <p14:creationId xmlns:p14="http://schemas.microsoft.com/office/powerpoint/2010/main" val="22496621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804232"/>
            <a:ext cx="7072330" cy="507831"/>
          </a:xfrm>
          <a:prstGeom prst="rect">
            <a:avLst/>
          </a:prstGeom>
          <a:noFill/>
        </p:spPr>
        <p:txBody>
          <a:bodyPr lIns="449201">
            <a:noAutofit/>
          </a:bodyPr>
          <a:lstStyle>
            <a:lvl1pPr algn="l">
              <a:defRPr sz="2800" b="0">
                <a:solidFill>
                  <a:srgbClr val="272727"/>
                </a:solidFill>
              </a:defRPr>
            </a:lvl1pPr>
          </a:lstStyle>
          <a:p>
            <a:r>
              <a:rPr lang="en-US" smtClean="0"/>
              <a:t>Click to edit Master title style</a:t>
            </a:r>
            <a:endParaRPr lang="en-ZA" dirty="0"/>
          </a:p>
        </p:txBody>
      </p:sp>
    </p:spTree>
    <p:extLst>
      <p:ext uri="{BB962C8B-B14F-4D97-AF65-F5344CB8AC3E}">
        <p14:creationId xmlns:p14="http://schemas.microsoft.com/office/powerpoint/2010/main" val="262960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ullet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8715376" y="6470652"/>
            <a:ext cx="428625" cy="365125"/>
          </a:xfrm>
          <a:prstGeom prst="rect">
            <a:avLst/>
          </a:prstGeom>
        </p:spPr>
        <p:txBody>
          <a:bodyPr lIns="91293" tIns="45646" rIns="91293" bIns="45646" anchor="ct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r" eaLnBrk="1" hangingPunct="1"/>
            <a:fld id="{B573A8B9-F20D-48B8-8F25-0206247F5C16}" type="slidenum">
              <a:rPr lang="en-ZA" altLang="zh-CN" sz="1100">
                <a:solidFill>
                  <a:schemeClr val="bg1"/>
                </a:solidFill>
                <a:latin typeface="Verdana" pitchFamily="34" charset="0"/>
                <a:ea typeface="宋体" pitchFamily="2" charset="-122"/>
              </a:rPr>
              <a:pPr algn="r" eaLnBrk="1" hangingPunct="1"/>
              <a:t>‹#›</a:t>
            </a:fld>
            <a:endParaRPr lang="en-ZA" altLang="zh-CN" sz="1100" dirty="0">
              <a:solidFill>
                <a:schemeClr val="bg1"/>
              </a:solidFill>
              <a:latin typeface="Verdana" pitchFamily="34" charset="0"/>
              <a:ea typeface="宋体" pitchFamily="2" charset="-122"/>
            </a:endParaRPr>
          </a:p>
        </p:txBody>
      </p:sp>
      <p:sp>
        <p:nvSpPr>
          <p:cNvPr id="6" name="Text Placeholder 5"/>
          <p:cNvSpPr>
            <a:spLocks noGrp="1"/>
          </p:cNvSpPr>
          <p:nvPr>
            <p:ph type="body" sz="quarter" idx="10"/>
          </p:nvPr>
        </p:nvSpPr>
        <p:spPr>
          <a:xfrm>
            <a:off x="14" y="214292"/>
            <a:ext cx="7715271" cy="571482"/>
          </a:xfrm>
          <a:prstGeom prst="rect">
            <a:avLst/>
          </a:prstGeom>
        </p:spPr>
        <p:txBody>
          <a:bodyPr lIns="449201"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0" y="1071546"/>
            <a:ext cx="9144000" cy="5357850"/>
          </a:xfrm>
          <a:prstGeom prst="rect">
            <a:avLst/>
          </a:prstGeom>
        </p:spPr>
        <p:txBody>
          <a:bodyPr lIns="628880" tIns="287488"/>
          <a:lstStyle>
            <a:lvl1pPr marL="513434" indent="-513434">
              <a:buClr>
                <a:srgbClr val="FFB300"/>
              </a:buClr>
              <a:buSzPct val="120000"/>
              <a:buFont typeface="Arial" pitchFamily="34" charset="0"/>
              <a:buChar char="•"/>
              <a:defRPr sz="2000" baseline="0">
                <a:solidFill>
                  <a:srgbClr val="272727"/>
                </a:solidFill>
              </a:defRPr>
            </a:lvl1pPr>
            <a:lvl2pPr>
              <a:buClr>
                <a:srgbClr val="808080"/>
              </a:buClr>
              <a:buSzPct val="120000"/>
              <a:buFont typeface="Arial" pitchFamily="34" charset="0"/>
              <a:buChar char="•"/>
              <a:defRPr sz="1800">
                <a:solidFill>
                  <a:srgbClr val="272727"/>
                </a:solidFill>
              </a:defRPr>
            </a:lvl2pPr>
            <a:lvl3pPr>
              <a:buClr>
                <a:srgbClr val="808080"/>
              </a:buClr>
              <a:buSzPct val="120000"/>
              <a:defRPr sz="1800">
                <a:solidFill>
                  <a:srgbClr val="272727"/>
                </a:solidFill>
              </a:defRPr>
            </a:lvl3pPr>
            <a:lvl4pPr>
              <a:buClr>
                <a:srgbClr val="808080"/>
              </a:buClr>
              <a:buSzPct val="120000"/>
              <a:buFont typeface="Arial" pitchFamily="34" charset="0"/>
              <a:buChar char="•"/>
              <a:defRPr sz="1800">
                <a:solidFill>
                  <a:srgbClr val="272727"/>
                </a:solidFill>
              </a:defRPr>
            </a:lvl4pPr>
            <a:lvl5pPr>
              <a:buClr>
                <a:srgbClr val="808080"/>
              </a:buClr>
              <a:buSzPct val="120000"/>
              <a:buFont typeface="Arial" pitchFamily="34" charset="0"/>
              <a:buChar char="•"/>
              <a:defRPr sz="180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856472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ullet Slide with Char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4" y="214292"/>
            <a:ext cx="7715271" cy="571482"/>
          </a:xfrm>
          <a:prstGeom prst="rect">
            <a:avLst/>
          </a:prstGeom>
        </p:spPr>
        <p:txBody>
          <a:bodyPr lIns="449201"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1" y="1071546"/>
            <a:ext cx="4643438" cy="5357850"/>
          </a:xfrm>
          <a:prstGeom prst="rect">
            <a:avLst/>
          </a:prstGeom>
        </p:spPr>
        <p:txBody>
          <a:bodyPr lIns="628880" tIns="287488"/>
          <a:lstStyle>
            <a:lvl1pPr marL="513434" indent="-513434">
              <a:buClr>
                <a:srgbClr val="FFB300"/>
              </a:buClr>
              <a:buSzPct val="120000"/>
              <a:buFont typeface="Arial" pitchFamily="34" charset="0"/>
              <a:buChar char="•"/>
              <a:defRPr sz="2000" baseline="0">
                <a:solidFill>
                  <a:srgbClr val="272727"/>
                </a:solidFill>
              </a:defRPr>
            </a:lvl1pPr>
            <a:lvl2pPr>
              <a:buClr>
                <a:srgbClr val="808080"/>
              </a:buClr>
              <a:buSzPct val="120000"/>
              <a:buFont typeface="Arial" pitchFamily="34" charset="0"/>
              <a:buChar char="•"/>
              <a:defRPr sz="1800">
                <a:solidFill>
                  <a:srgbClr val="272727"/>
                </a:solidFill>
              </a:defRPr>
            </a:lvl2pPr>
            <a:lvl3pPr>
              <a:buClr>
                <a:srgbClr val="808080"/>
              </a:buClr>
              <a:buSzPct val="120000"/>
              <a:defRPr sz="1800">
                <a:solidFill>
                  <a:srgbClr val="272727"/>
                </a:solidFill>
              </a:defRPr>
            </a:lvl3pPr>
            <a:lvl4pPr>
              <a:buClr>
                <a:srgbClr val="808080"/>
              </a:buClr>
              <a:buSzPct val="120000"/>
              <a:buFont typeface="Arial" pitchFamily="34" charset="0"/>
              <a:buChar char="•"/>
              <a:defRPr sz="1800">
                <a:solidFill>
                  <a:srgbClr val="272727"/>
                </a:solidFill>
              </a:defRPr>
            </a:lvl4pPr>
            <a:lvl5pPr>
              <a:buClr>
                <a:srgbClr val="808080"/>
              </a:buClr>
              <a:buSzPct val="120000"/>
              <a:buFont typeface="Arial" pitchFamily="34" charset="0"/>
              <a:buChar char="•"/>
              <a:defRPr sz="180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hart Placeholder 9"/>
          <p:cNvSpPr>
            <a:spLocks noGrp="1"/>
          </p:cNvSpPr>
          <p:nvPr>
            <p:ph type="chart" sz="quarter" idx="12"/>
          </p:nvPr>
        </p:nvSpPr>
        <p:spPr>
          <a:xfrm>
            <a:off x="4643439" y="1071546"/>
            <a:ext cx="4500562" cy="5357850"/>
          </a:xfrm>
          <a:prstGeom prst="rect">
            <a:avLst/>
          </a:prstGeom>
        </p:spPr>
        <p:txBody>
          <a:bodyPr lIns="449201" rtlCol="0">
            <a:noAutofit/>
          </a:bodyPr>
          <a:lstStyle>
            <a:lvl1pPr>
              <a:buNone/>
              <a:defRPr lang="en-ZA" sz="2000" kern="1200" baseline="0" dirty="0">
                <a:solidFill>
                  <a:srgbClr val="272727"/>
                </a:solidFill>
                <a:latin typeface="+mn-lt"/>
                <a:ea typeface="+mn-ea"/>
                <a:cs typeface="+mn-cs"/>
              </a:defRPr>
            </a:lvl1pPr>
          </a:lstStyle>
          <a:p>
            <a:pPr lvl="0"/>
            <a:r>
              <a:rPr lang="en-US" noProof="0" dirty="0" smtClean="0"/>
              <a:t>Click icon to add chart</a:t>
            </a:r>
            <a:endParaRPr lang="en-ZA" noProof="0" dirty="0"/>
          </a:p>
        </p:txBody>
      </p:sp>
      <p:sp>
        <p:nvSpPr>
          <p:cNvPr id="5" name="Slide Number Placeholder 3"/>
          <p:cNvSpPr>
            <a:spLocks noGrp="1"/>
          </p:cNvSpPr>
          <p:nvPr>
            <p:ph type="sldNum" sz="quarter" idx="13"/>
          </p:nvPr>
        </p:nvSpPr>
        <p:spPr>
          <a:xfrm>
            <a:off x="8715376" y="6470652"/>
            <a:ext cx="428625" cy="365125"/>
          </a:xfrm>
          <a:prstGeom prst="rect">
            <a:avLst/>
          </a:prstGeom>
        </p:spPr>
        <p:txBody>
          <a:bodyPr vert="horz" wrap="square" lIns="91293" tIns="45646" rIns="91293" bIns="45646"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fld id="{4A0B16BB-A6D2-4580-B975-D68E775CA2ED}" type="slidenum">
              <a:rPr lang="en-ZA" altLang="zh-CN"/>
              <a:pPr/>
              <a:t>‹#›</a:t>
            </a:fld>
            <a:endParaRPr lang="en-ZA" altLang="zh-CN"/>
          </a:p>
        </p:txBody>
      </p:sp>
    </p:spTree>
    <p:extLst>
      <p:ext uri="{BB962C8B-B14F-4D97-AF65-F5344CB8AC3E}">
        <p14:creationId xmlns:p14="http://schemas.microsoft.com/office/powerpoint/2010/main" val="23622982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4" y="214292"/>
            <a:ext cx="7715271" cy="571482"/>
          </a:xfrm>
          <a:prstGeom prst="rect">
            <a:avLst/>
          </a:prstGeom>
        </p:spPr>
        <p:txBody>
          <a:bodyPr lIns="449201" anchor="ctr">
            <a:normAutofit/>
          </a:bodyPr>
          <a:lstStyle>
            <a:lvl1pPr>
              <a:buNone/>
              <a:defRPr sz="2800" baseline="0">
                <a:solidFill>
                  <a:srgbClr val="272727"/>
                </a:solidFill>
              </a:defRPr>
            </a:lvl1pPr>
          </a:lstStyle>
          <a:p>
            <a:pPr lvl="0"/>
            <a:r>
              <a:rPr lang="en-US" smtClean="0"/>
              <a:t>Click to edit Master text styles</a:t>
            </a:r>
          </a:p>
        </p:txBody>
      </p:sp>
      <p:sp>
        <p:nvSpPr>
          <p:cNvPr id="13" name="Table Placeholder 12"/>
          <p:cNvSpPr>
            <a:spLocks noGrp="1"/>
          </p:cNvSpPr>
          <p:nvPr>
            <p:ph type="tbl" sz="quarter" idx="11"/>
          </p:nvPr>
        </p:nvSpPr>
        <p:spPr>
          <a:xfrm>
            <a:off x="357188" y="1285875"/>
            <a:ext cx="8501062" cy="4929188"/>
          </a:xfrm>
          <a:prstGeom prst="rect">
            <a:avLst/>
          </a:prstGeom>
        </p:spPr>
        <p:txBody>
          <a:bodyPr rtlCol="0">
            <a:normAutofit/>
          </a:bodyPr>
          <a:lstStyle>
            <a:lvl1pPr>
              <a:buNone/>
              <a:defRPr lang="en-ZA" sz="2000" kern="1200" baseline="0" dirty="0" smtClean="0">
                <a:solidFill>
                  <a:srgbClr val="272727"/>
                </a:solidFill>
                <a:latin typeface="+mn-lt"/>
                <a:ea typeface="+mn-ea"/>
                <a:cs typeface="+mn-cs"/>
              </a:defRPr>
            </a:lvl1pPr>
          </a:lstStyle>
          <a:p>
            <a:pPr lvl="0"/>
            <a:r>
              <a:rPr lang="en-US" noProof="0" dirty="0" smtClean="0"/>
              <a:t>Click icon to add table</a:t>
            </a:r>
            <a:endParaRPr lang="en-ZA" noProof="0" dirty="0"/>
          </a:p>
        </p:txBody>
      </p:sp>
      <p:sp>
        <p:nvSpPr>
          <p:cNvPr id="4" name="Slide Number Placeholder 3"/>
          <p:cNvSpPr>
            <a:spLocks noGrp="1"/>
          </p:cNvSpPr>
          <p:nvPr>
            <p:ph type="sldNum" sz="quarter" idx="12"/>
          </p:nvPr>
        </p:nvSpPr>
        <p:spPr>
          <a:xfrm>
            <a:off x="8715376" y="6470652"/>
            <a:ext cx="428625" cy="365125"/>
          </a:xfrm>
          <a:prstGeom prst="rect">
            <a:avLst/>
          </a:prstGeom>
        </p:spPr>
        <p:txBody>
          <a:bodyPr vert="horz" wrap="square" lIns="91293" tIns="45646" rIns="91293" bIns="45646"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fld id="{E3791C4F-7FD0-4B9E-807C-AD87E1987CA6}" type="slidenum">
              <a:rPr lang="en-ZA" altLang="zh-CN"/>
              <a:pPr/>
              <a:t>‹#›</a:t>
            </a:fld>
            <a:endParaRPr lang="en-ZA" altLang="zh-CN"/>
          </a:p>
        </p:txBody>
      </p:sp>
    </p:spTree>
    <p:extLst>
      <p:ext uri="{BB962C8B-B14F-4D97-AF65-F5344CB8AC3E}">
        <p14:creationId xmlns:p14="http://schemas.microsoft.com/office/powerpoint/2010/main" val="27534497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rt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4" y="214292"/>
            <a:ext cx="7715271" cy="571482"/>
          </a:xfrm>
          <a:prstGeom prst="rect">
            <a:avLst/>
          </a:prstGeom>
        </p:spPr>
        <p:txBody>
          <a:bodyPr lIns="449201" anchor="ctr"/>
          <a:lstStyle>
            <a:lvl1pPr>
              <a:buNone/>
              <a:defRPr sz="2800" baseline="0">
                <a:solidFill>
                  <a:srgbClr val="272727"/>
                </a:solidFill>
              </a:defRPr>
            </a:lvl1pPr>
          </a:lstStyle>
          <a:p>
            <a:pPr lvl="0"/>
            <a:r>
              <a:rPr lang="en-US" smtClean="0"/>
              <a:t>Click to edit Master text styles</a:t>
            </a:r>
          </a:p>
        </p:txBody>
      </p:sp>
      <p:sp>
        <p:nvSpPr>
          <p:cNvPr id="9" name="Chart Placeholder 8"/>
          <p:cNvSpPr>
            <a:spLocks noGrp="1"/>
          </p:cNvSpPr>
          <p:nvPr>
            <p:ph type="chart" sz="quarter" idx="11"/>
          </p:nvPr>
        </p:nvSpPr>
        <p:spPr>
          <a:xfrm>
            <a:off x="357188" y="1285875"/>
            <a:ext cx="8501062" cy="4929188"/>
          </a:xfrm>
        </p:spPr>
        <p:txBody>
          <a:bodyPr rtlCol="0">
            <a:normAutofit/>
          </a:bodyPr>
          <a:lstStyle>
            <a:lvl1pPr>
              <a:defRPr lang="en-ZA" sz="2000" kern="1200" baseline="0" dirty="0" smtClean="0">
                <a:solidFill>
                  <a:srgbClr val="272727"/>
                </a:solidFill>
                <a:latin typeface="+mn-lt"/>
                <a:ea typeface="+mn-ea"/>
                <a:cs typeface="+mn-cs"/>
              </a:defRPr>
            </a:lvl1pPr>
          </a:lstStyle>
          <a:p>
            <a:pPr lvl="0"/>
            <a:r>
              <a:rPr lang="en-US" noProof="0" dirty="0" smtClean="0"/>
              <a:t>Click icon to add chart</a:t>
            </a:r>
            <a:endParaRPr lang="en-ZA" noProof="0" dirty="0"/>
          </a:p>
        </p:txBody>
      </p:sp>
      <p:sp>
        <p:nvSpPr>
          <p:cNvPr id="4" name="Slide Number Placeholder 3"/>
          <p:cNvSpPr>
            <a:spLocks noGrp="1"/>
          </p:cNvSpPr>
          <p:nvPr>
            <p:ph type="sldNum" sz="quarter" idx="12"/>
          </p:nvPr>
        </p:nvSpPr>
        <p:spPr>
          <a:xfrm>
            <a:off x="8715376" y="6470652"/>
            <a:ext cx="428625" cy="365125"/>
          </a:xfrm>
          <a:prstGeom prst="rect">
            <a:avLst/>
          </a:prstGeom>
        </p:spPr>
        <p:txBody>
          <a:bodyPr vert="horz" wrap="square" lIns="91293" tIns="45646" rIns="91293" bIns="45646"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fld id="{A11C2B1B-E780-4EE0-8F47-40153B3A163A}" type="slidenum">
              <a:rPr lang="en-ZA" altLang="zh-CN"/>
              <a:pPr/>
              <a:t>‹#›</a:t>
            </a:fld>
            <a:endParaRPr lang="en-ZA" altLang="zh-CN"/>
          </a:p>
        </p:txBody>
      </p:sp>
    </p:spTree>
    <p:extLst>
      <p:ext uri="{BB962C8B-B14F-4D97-AF65-F5344CB8AC3E}">
        <p14:creationId xmlns:p14="http://schemas.microsoft.com/office/powerpoint/2010/main" val="5839229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5564377"/>
            <a:ext cx="7072330" cy="507831"/>
          </a:xfrm>
          <a:prstGeom prst="rect">
            <a:avLst/>
          </a:prstGeom>
          <a:noFill/>
        </p:spPr>
        <p:txBody>
          <a:bodyPr lIns="449201">
            <a:noAutofit/>
          </a:bodyPr>
          <a:lstStyle>
            <a:lvl1pPr algn="l">
              <a:defRPr sz="2800" b="0">
                <a:solidFill>
                  <a:srgbClr val="272727"/>
                </a:solidFill>
              </a:defRPr>
            </a:lvl1pPr>
          </a:lstStyle>
          <a:p>
            <a:r>
              <a:rPr lang="en-US" smtClean="0"/>
              <a:t>Click to edit Master title style</a:t>
            </a:r>
            <a:endParaRPr lang="en-ZA" dirty="0"/>
          </a:p>
        </p:txBody>
      </p:sp>
    </p:spTree>
    <p:extLst>
      <p:ext uri="{BB962C8B-B14F-4D97-AF65-F5344CB8AC3E}">
        <p14:creationId xmlns:p14="http://schemas.microsoft.com/office/powerpoint/2010/main" val="227377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1CA1D0C3-E933-4F89-92B4-AD2A062585E1}" type="datetimeFigureOut">
              <a:rPr lang="en-US" altLang="zh-CN"/>
              <a:pPr/>
              <a:t>17/03/2016</a:t>
            </a:fld>
            <a:endParaRPr lang="en-US" altLang="zh-CN"/>
          </a:p>
        </p:txBody>
      </p:sp>
      <p:sp>
        <p:nvSpPr>
          <p:cNvPr id="5" name="Footer Placeholder 4"/>
          <p:cNvSpPr>
            <a:spLocks noGrp="1"/>
          </p:cNvSpPr>
          <p:nvPr>
            <p:ph type="ftr" sz="quarter" idx="11"/>
          </p:nvPr>
        </p:nvSpPr>
        <p:spPr/>
        <p:txBody>
          <a:bodyPr/>
          <a:lstStyle>
            <a:lvl1pPr>
              <a:defRPr/>
            </a:lvl1pPr>
          </a:lstStyle>
          <a:p>
            <a:endParaRPr lang="en-US" altLang="zh-CN"/>
          </a:p>
        </p:txBody>
      </p:sp>
      <p:sp>
        <p:nvSpPr>
          <p:cNvPr id="6" name="Slide Number Placeholder 5"/>
          <p:cNvSpPr>
            <a:spLocks noGrp="1"/>
          </p:cNvSpPr>
          <p:nvPr>
            <p:ph type="sldNum" sz="quarter" idx="12"/>
          </p:nvPr>
        </p:nvSpPr>
        <p:spPr/>
        <p:txBody>
          <a:bodyPr/>
          <a:lstStyle>
            <a:lvl1pPr>
              <a:defRPr/>
            </a:lvl1pPr>
          </a:lstStyle>
          <a:p>
            <a:fld id="{B4B06143-6A57-4508-8079-1A6273B831A5}" type="slidenum">
              <a:rPr lang="en-US" altLang="zh-CN"/>
              <a:pPr/>
              <a:t>‹#›</a:t>
            </a:fld>
            <a:endParaRPr lang="en-US" altLang="zh-CN"/>
          </a:p>
        </p:txBody>
      </p:sp>
    </p:spTree>
    <p:extLst>
      <p:ext uri="{BB962C8B-B14F-4D97-AF65-F5344CB8AC3E}">
        <p14:creationId xmlns:p14="http://schemas.microsoft.com/office/powerpoint/2010/main" val="231458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6"/>
          <p:cNvSpPr>
            <a:spLocks noGrp="1"/>
          </p:cNvSpPr>
          <p:nvPr>
            <p:ph type="sldNum" sz="quarter" idx="4"/>
          </p:nvPr>
        </p:nvSpPr>
        <p:spPr>
          <a:xfrm>
            <a:off x="8479063" y="6574351"/>
            <a:ext cx="439511" cy="283649"/>
          </a:xfrm>
          <a:prstGeom prst="rect">
            <a:avLst/>
          </a:prstGeom>
        </p:spPr>
        <p:txBody>
          <a:bodyPr/>
          <a:lstStyle>
            <a:lvl1pPr>
              <a:defRPr sz="1200"/>
            </a:lvl1pPr>
          </a:lstStyle>
          <a:p>
            <a:fld id="{A8989F95-E133-4EF9-8101-C480C3E8508E}" type="slidenum">
              <a:rPr lang="en-US" smtClean="0"/>
              <a:pPr/>
              <a:t>‹#›</a:t>
            </a:fld>
            <a:endParaRPr lang="en-US"/>
          </a:p>
        </p:txBody>
      </p:sp>
    </p:spTree>
    <p:extLst>
      <p:ext uri="{BB962C8B-B14F-4D97-AF65-F5344CB8AC3E}">
        <p14:creationId xmlns:p14="http://schemas.microsoft.com/office/powerpoint/2010/main" val="1180259488"/>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1" y="274638"/>
            <a:ext cx="8229600" cy="1143000"/>
          </a:xfrm>
          <a:prstGeom prst="rect">
            <a:avLst/>
          </a:prstGeom>
        </p:spPr>
        <p:txBody>
          <a:bodyPr/>
          <a:lstStyle/>
          <a:p>
            <a:r>
              <a:rPr lang="en-US" smtClean="0"/>
              <a:t>Click to edit Master title style</a:t>
            </a:r>
            <a:endParaRPr lang="en-ZA"/>
          </a:p>
        </p:txBody>
      </p:sp>
      <p:sp>
        <p:nvSpPr>
          <p:cNvPr id="3" name="Content Placeholder 2"/>
          <p:cNvSpPr>
            <a:spLocks noGrp="1"/>
          </p:cNvSpPr>
          <p:nvPr>
            <p:ph sz="quarter" idx="1"/>
          </p:nvPr>
        </p:nvSpPr>
        <p:spPr>
          <a:xfrm>
            <a:off x="457205" y="1600200"/>
            <a:ext cx="40386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quarter" idx="2"/>
          </p:nvPr>
        </p:nvSpPr>
        <p:spPr>
          <a:xfrm>
            <a:off x="4648203" y="1600200"/>
            <a:ext cx="4038600" cy="21859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Content Placeholder 4"/>
          <p:cNvSpPr>
            <a:spLocks noGrp="1"/>
          </p:cNvSpPr>
          <p:nvPr>
            <p:ph sz="quarter" idx="3"/>
          </p:nvPr>
        </p:nvSpPr>
        <p:spPr>
          <a:xfrm>
            <a:off x="457205" y="3938600"/>
            <a:ext cx="40386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Content Placeholder 5"/>
          <p:cNvSpPr>
            <a:spLocks noGrp="1"/>
          </p:cNvSpPr>
          <p:nvPr>
            <p:ph sz="quarter" idx="4"/>
          </p:nvPr>
        </p:nvSpPr>
        <p:spPr>
          <a:xfrm>
            <a:off x="4648203" y="3938600"/>
            <a:ext cx="4038600" cy="21875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2641591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 y="5278625"/>
            <a:ext cx="7146000" cy="507831"/>
          </a:xfrm>
          <a:prstGeom prst="rect">
            <a:avLst/>
          </a:prstGeom>
          <a:noFill/>
        </p:spPr>
        <p:txBody>
          <a:bodyPr wrap="none" lIns="449866">
            <a:noAutofit/>
          </a:bodyPr>
          <a:lstStyle>
            <a:lvl1pPr algn="l">
              <a:defRPr sz="2800" b="1" baseline="0">
                <a:solidFill>
                  <a:srgbClr val="272727"/>
                </a:solidFill>
              </a:defRPr>
            </a:lvl1pPr>
          </a:lstStyle>
          <a:p>
            <a:r>
              <a:rPr lang="en-US" smtClean="0"/>
              <a:t>Click to edit Master title style</a:t>
            </a:r>
            <a:endParaRPr lang="en-ZA" dirty="0"/>
          </a:p>
        </p:txBody>
      </p:sp>
      <p:sp>
        <p:nvSpPr>
          <p:cNvPr id="9" name="Text Placeholder 8"/>
          <p:cNvSpPr>
            <a:spLocks noGrp="1"/>
          </p:cNvSpPr>
          <p:nvPr>
            <p:ph type="body" sz="quarter" idx="10"/>
          </p:nvPr>
        </p:nvSpPr>
        <p:spPr>
          <a:xfrm>
            <a:off x="0" y="5815482"/>
            <a:ext cx="7146000" cy="399600"/>
          </a:xfrm>
          <a:noFill/>
        </p:spPr>
        <p:txBody>
          <a:bodyPr lIns="449945">
            <a:noAutofit/>
          </a:bodyPr>
          <a:lstStyle>
            <a:lvl1pPr>
              <a:buNone/>
              <a:defRPr sz="2000"/>
            </a:lvl1pPr>
          </a:lstStyle>
          <a:p>
            <a:pPr lvl="0"/>
            <a:r>
              <a:rPr lang="en-US" smtClean="0"/>
              <a:t>Click to edit Master text styles</a:t>
            </a:r>
          </a:p>
        </p:txBody>
      </p:sp>
    </p:spTree>
    <p:extLst>
      <p:ext uri="{BB962C8B-B14F-4D97-AF65-F5344CB8AC3E}">
        <p14:creationId xmlns:p14="http://schemas.microsoft.com/office/powerpoint/2010/main" val="17011773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mber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 y="214292"/>
            <a:ext cx="7715271" cy="571482"/>
          </a:xfrm>
          <a:prstGeom prst="rect">
            <a:avLst/>
          </a:prstGeom>
        </p:spPr>
        <p:txBody>
          <a:bodyPr lIns="449866"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0" y="1071546"/>
            <a:ext cx="9144000" cy="5357850"/>
          </a:xfrm>
          <a:prstGeom prst="rect">
            <a:avLst/>
          </a:prstGeom>
        </p:spPr>
        <p:txBody>
          <a:bodyPr lIns="629811" tIns="287914"/>
          <a:lstStyle>
            <a:lvl1pPr marL="514196" indent="-514196">
              <a:buFont typeface="+mj-lt"/>
              <a:buAutoNum type="arabicPeriod"/>
              <a:defRPr sz="2000"/>
            </a:lvl1pPr>
            <a:lvl2pPr marL="799861" indent="-342797">
              <a:buFont typeface="+mj-lt"/>
              <a:buAutoNum type="arabicPeriod"/>
              <a:defRPr sz="1800">
                <a:solidFill>
                  <a:srgbClr val="272727"/>
                </a:solidFill>
              </a:defRPr>
            </a:lvl2pPr>
            <a:lvl3pPr marL="1256923" indent="-342797">
              <a:buFont typeface="+mj-lt"/>
              <a:buAutoNum type="arabicPeriod"/>
              <a:defRPr sz="1800">
                <a:solidFill>
                  <a:srgbClr val="272727"/>
                </a:solidFill>
              </a:defRPr>
            </a:lvl3pPr>
            <a:lvl4pPr marL="1713986" indent="-342797">
              <a:buFont typeface="+mj-lt"/>
              <a:buAutoNum type="arabicPeriod"/>
              <a:defRPr sz="1800">
                <a:solidFill>
                  <a:srgbClr val="272727"/>
                </a:solidFill>
              </a:defRPr>
            </a:lvl4pPr>
            <a:lvl5pPr marL="2171050" indent="-342797">
              <a:buFont typeface="+mj-lt"/>
              <a:buAutoNum type="arabicPeriod"/>
              <a:defRPr sz="1800" baseline="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Slide Number Placeholder 3"/>
          <p:cNvSpPr>
            <a:spLocks noGrp="1"/>
          </p:cNvSpPr>
          <p:nvPr userDrawn="1">
            <p:ph type="sldNum" sz="quarter" idx="12"/>
          </p:nvPr>
        </p:nvSpPr>
        <p:spPr>
          <a:xfrm>
            <a:off x="8715375" y="6470650"/>
            <a:ext cx="428625" cy="365125"/>
          </a:xfrm>
          <a:prstGeom prst="rect">
            <a:avLst/>
          </a:prstGeom>
        </p:spPr>
        <p:txBody>
          <a:bodyPr vert="horz" wrap="square" lIns="91429" tIns="45715" rIns="91429" bIns="45715"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pPr>
              <a:defRPr/>
            </a:pPr>
            <a:fld id="{C1B5C9D1-F1EF-4F68-B136-C70690C7A0E1}" type="slidenum">
              <a:rPr lang="en-ZA" altLang="zh-CN">
                <a:solidFill>
                  <a:prstClr val="white"/>
                </a:solidFill>
                <a:cs typeface="Arial" pitchFamily="34" charset="0"/>
              </a:rPr>
              <a:pPr>
                <a:defRPr/>
              </a:pPr>
              <a:t>‹#›</a:t>
            </a:fld>
            <a:endParaRPr lang="en-ZA" altLang="zh-CN">
              <a:solidFill>
                <a:prstClr val="white"/>
              </a:solidFill>
              <a:cs typeface="Arial" pitchFamily="34" charset="0"/>
            </a:endParaRPr>
          </a:p>
        </p:txBody>
      </p:sp>
    </p:spTree>
    <p:extLst>
      <p:ext uri="{BB962C8B-B14F-4D97-AF65-F5344CB8AC3E}">
        <p14:creationId xmlns:p14="http://schemas.microsoft.com/office/powerpoint/2010/main" val="23492700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804232"/>
            <a:ext cx="7072330" cy="507831"/>
          </a:xfrm>
          <a:prstGeom prst="rect">
            <a:avLst/>
          </a:prstGeom>
          <a:noFill/>
        </p:spPr>
        <p:txBody>
          <a:bodyPr lIns="449866">
            <a:noAutofit/>
          </a:bodyPr>
          <a:lstStyle>
            <a:lvl1pPr algn="l">
              <a:defRPr sz="2800" b="0">
                <a:solidFill>
                  <a:srgbClr val="272727"/>
                </a:solidFill>
              </a:defRPr>
            </a:lvl1pPr>
          </a:lstStyle>
          <a:p>
            <a:r>
              <a:rPr lang="en-US" smtClean="0"/>
              <a:t>Click to edit Master title style</a:t>
            </a:r>
            <a:endParaRPr lang="en-ZA" dirty="0"/>
          </a:p>
        </p:txBody>
      </p:sp>
    </p:spTree>
    <p:extLst>
      <p:ext uri="{BB962C8B-B14F-4D97-AF65-F5344CB8AC3E}">
        <p14:creationId xmlns:p14="http://schemas.microsoft.com/office/powerpoint/2010/main" val="23660615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ullet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8715375" y="6470650"/>
            <a:ext cx="428625" cy="365125"/>
          </a:xfrm>
          <a:prstGeom prst="rect">
            <a:avLst/>
          </a:prstGeom>
        </p:spPr>
        <p:txBody>
          <a:bodyPr lIns="91429" tIns="45715" rIns="91429" bIns="45715" anchor="ctr"/>
          <a:lstStyle/>
          <a:p>
            <a:pPr algn="r" defTabSz="912701">
              <a:defRPr/>
            </a:pPr>
            <a:fld id="{038E05C6-ACA5-425D-AD4C-0FA0B9DE6174}" type="slidenum">
              <a:rPr lang="en-ZA" altLang="zh-CN" sz="1100">
                <a:solidFill>
                  <a:prstClr val="white"/>
                </a:solidFill>
                <a:latin typeface="Verdana" pitchFamily="34" charset="0"/>
                <a:ea typeface="宋体" pitchFamily="2" charset="-122"/>
                <a:cs typeface="Arial" pitchFamily="34" charset="0"/>
              </a:rPr>
              <a:pPr algn="r" defTabSz="912701">
                <a:defRPr/>
              </a:pPr>
              <a:t>‹#›</a:t>
            </a:fld>
            <a:endParaRPr lang="en-ZA" altLang="zh-CN" sz="1100" dirty="0">
              <a:solidFill>
                <a:prstClr val="white"/>
              </a:solidFill>
              <a:latin typeface="Verdana" pitchFamily="34" charset="0"/>
              <a:ea typeface="宋体" pitchFamily="2" charset="-122"/>
              <a:cs typeface="Arial" pitchFamily="34" charset="0"/>
            </a:endParaRPr>
          </a:p>
        </p:txBody>
      </p:sp>
      <p:sp>
        <p:nvSpPr>
          <p:cNvPr id="6" name="Text Placeholder 5"/>
          <p:cNvSpPr>
            <a:spLocks noGrp="1"/>
          </p:cNvSpPr>
          <p:nvPr>
            <p:ph type="body" sz="quarter" idx="10"/>
          </p:nvPr>
        </p:nvSpPr>
        <p:spPr>
          <a:xfrm>
            <a:off x="2" y="214292"/>
            <a:ext cx="7715271" cy="571482"/>
          </a:xfrm>
          <a:prstGeom prst="rect">
            <a:avLst/>
          </a:prstGeom>
        </p:spPr>
        <p:txBody>
          <a:bodyPr lIns="449866"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0" y="1071546"/>
            <a:ext cx="9144000" cy="5357850"/>
          </a:xfrm>
          <a:prstGeom prst="rect">
            <a:avLst/>
          </a:prstGeom>
        </p:spPr>
        <p:txBody>
          <a:bodyPr lIns="629811" tIns="287914"/>
          <a:lstStyle>
            <a:lvl1pPr marL="514196" indent="-514196">
              <a:buClr>
                <a:srgbClr val="FFB300"/>
              </a:buClr>
              <a:buSzPct val="120000"/>
              <a:buFont typeface="Arial" pitchFamily="34" charset="0"/>
              <a:buChar char="•"/>
              <a:defRPr sz="2000" baseline="0">
                <a:solidFill>
                  <a:srgbClr val="272727"/>
                </a:solidFill>
              </a:defRPr>
            </a:lvl1pPr>
            <a:lvl2pPr>
              <a:buClr>
                <a:srgbClr val="808080"/>
              </a:buClr>
              <a:buSzPct val="120000"/>
              <a:buFont typeface="Arial" pitchFamily="34" charset="0"/>
              <a:buChar char="•"/>
              <a:defRPr sz="1800">
                <a:solidFill>
                  <a:srgbClr val="272727"/>
                </a:solidFill>
              </a:defRPr>
            </a:lvl2pPr>
            <a:lvl3pPr>
              <a:buClr>
                <a:srgbClr val="808080"/>
              </a:buClr>
              <a:buSzPct val="120000"/>
              <a:defRPr sz="1800">
                <a:solidFill>
                  <a:srgbClr val="272727"/>
                </a:solidFill>
              </a:defRPr>
            </a:lvl3pPr>
            <a:lvl4pPr>
              <a:buClr>
                <a:srgbClr val="808080"/>
              </a:buClr>
              <a:buSzPct val="120000"/>
              <a:buFont typeface="Arial" pitchFamily="34" charset="0"/>
              <a:buChar char="•"/>
              <a:defRPr sz="1800">
                <a:solidFill>
                  <a:srgbClr val="272727"/>
                </a:solidFill>
              </a:defRPr>
            </a:lvl4pPr>
            <a:lvl5pPr>
              <a:buClr>
                <a:srgbClr val="808080"/>
              </a:buClr>
              <a:buSzPct val="120000"/>
              <a:buFont typeface="Arial" pitchFamily="34" charset="0"/>
              <a:buChar char="•"/>
              <a:defRPr sz="180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052138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ullet Slide with Char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 y="214292"/>
            <a:ext cx="7715271" cy="571482"/>
          </a:xfrm>
          <a:prstGeom prst="rect">
            <a:avLst/>
          </a:prstGeom>
        </p:spPr>
        <p:txBody>
          <a:bodyPr lIns="449866" anchor="ctr">
            <a:normAutofit/>
          </a:bodyPr>
          <a:lstStyle>
            <a:lvl1pPr>
              <a:buNone/>
              <a:defRPr sz="2800" baseline="0">
                <a:solidFill>
                  <a:srgbClr val="272727"/>
                </a:solidFill>
              </a:defRPr>
            </a:lvl1pPr>
          </a:lstStyle>
          <a:p>
            <a:pPr lvl="0"/>
            <a:r>
              <a:rPr lang="en-US" smtClean="0"/>
              <a:t>Click to edit Master text styles</a:t>
            </a:r>
          </a:p>
        </p:txBody>
      </p:sp>
      <p:sp>
        <p:nvSpPr>
          <p:cNvPr id="9" name="Text Placeholder 8"/>
          <p:cNvSpPr>
            <a:spLocks noGrp="1"/>
          </p:cNvSpPr>
          <p:nvPr>
            <p:ph type="body" sz="quarter" idx="11"/>
          </p:nvPr>
        </p:nvSpPr>
        <p:spPr>
          <a:xfrm>
            <a:off x="1" y="1071546"/>
            <a:ext cx="4643438" cy="5357850"/>
          </a:xfrm>
          <a:prstGeom prst="rect">
            <a:avLst/>
          </a:prstGeom>
        </p:spPr>
        <p:txBody>
          <a:bodyPr lIns="629811" tIns="287914"/>
          <a:lstStyle>
            <a:lvl1pPr marL="514196" indent="-514196">
              <a:buClr>
                <a:srgbClr val="FFB300"/>
              </a:buClr>
              <a:buSzPct val="120000"/>
              <a:buFont typeface="Arial" pitchFamily="34" charset="0"/>
              <a:buChar char="•"/>
              <a:defRPr sz="2000" baseline="0">
                <a:solidFill>
                  <a:srgbClr val="272727"/>
                </a:solidFill>
              </a:defRPr>
            </a:lvl1pPr>
            <a:lvl2pPr>
              <a:buClr>
                <a:srgbClr val="808080"/>
              </a:buClr>
              <a:buSzPct val="120000"/>
              <a:buFont typeface="Arial" pitchFamily="34" charset="0"/>
              <a:buChar char="•"/>
              <a:defRPr sz="1800">
                <a:solidFill>
                  <a:srgbClr val="272727"/>
                </a:solidFill>
              </a:defRPr>
            </a:lvl2pPr>
            <a:lvl3pPr>
              <a:buClr>
                <a:srgbClr val="808080"/>
              </a:buClr>
              <a:buSzPct val="120000"/>
              <a:defRPr sz="1800">
                <a:solidFill>
                  <a:srgbClr val="272727"/>
                </a:solidFill>
              </a:defRPr>
            </a:lvl3pPr>
            <a:lvl4pPr>
              <a:buClr>
                <a:srgbClr val="808080"/>
              </a:buClr>
              <a:buSzPct val="120000"/>
              <a:buFont typeface="Arial" pitchFamily="34" charset="0"/>
              <a:buChar char="•"/>
              <a:defRPr sz="1800">
                <a:solidFill>
                  <a:srgbClr val="272727"/>
                </a:solidFill>
              </a:defRPr>
            </a:lvl4pPr>
            <a:lvl5pPr>
              <a:buClr>
                <a:srgbClr val="808080"/>
              </a:buClr>
              <a:buSzPct val="120000"/>
              <a:buFont typeface="Arial" pitchFamily="34" charset="0"/>
              <a:buChar char="•"/>
              <a:defRPr sz="1800">
                <a:solidFill>
                  <a:srgbClr val="272727"/>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Chart Placeholder 9"/>
          <p:cNvSpPr>
            <a:spLocks noGrp="1"/>
          </p:cNvSpPr>
          <p:nvPr>
            <p:ph type="chart" sz="quarter" idx="12"/>
          </p:nvPr>
        </p:nvSpPr>
        <p:spPr>
          <a:xfrm>
            <a:off x="4643439" y="1071546"/>
            <a:ext cx="4500562" cy="5357850"/>
          </a:xfrm>
          <a:prstGeom prst="rect">
            <a:avLst/>
          </a:prstGeom>
        </p:spPr>
        <p:txBody>
          <a:bodyPr lIns="449866" rtlCol="0">
            <a:noAutofit/>
          </a:bodyPr>
          <a:lstStyle>
            <a:lvl1pPr>
              <a:buNone/>
              <a:defRPr lang="en-ZA" sz="2000" kern="1200" baseline="0" dirty="0">
                <a:solidFill>
                  <a:srgbClr val="272727"/>
                </a:solidFill>
                <a:latin typeface="+mn-lt"/>
                <a:ea typeface="+mn-ea"/>
                <a:cs typeface="+mn-cs"/>
              </a:defRPr>
            </a:lvl1pPr>
          </a:lstStyle>
          <a:p>
            <a:pPr lvl="0"/>
            <a:r>
              <a:rPr lang="en-US" noProof="0" dirty="0" smtClean="0"/>
              <a:t>Click icon to add chart</a:t>
            </a:r>
            <a:endParaRPr lang="en-ZA" noProof="0" dirty="0"/>
          </a:p>
        </p:txBody>
      </p:sp>
      <p:sp>
        <p:nvSpPr>
          <p:cNvPr id="5" name="Slide Number Placeholder 3"/>
          <p:cNvSpPr>
            <a:spLocks noGrp="1"/>
          </p:cNvSpPr>
          <p:nvPr>
            <p:ph type="sldNum" sz="quarter" idx="13"/>
          </p:nvPr>
        </p:nvSpPr>
        <p:spPr>
          <a:xfrm>
            <a:off x="8715375" y="6470650"/>
            <a:ext cx="428625" cy="365125"/>
          </a:xfrm>
          <a:prstGeom prst="rect">
            <a:avLst/>
          </a:prstGeom>
        </p:spPr>
        <p:txBody>
          <a:bodyPr vert="horz" wrap="square" lIns="91429" tIns="45715" rIns="91429" bIns="45715"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pPr>
              <a:defRPr/>
            </a:pPr>
            <a:fld id="{5FB51485-D3C8-4991-B76D-87B0B6181C4B}" type="slidenum">
              <a:rPr lang="en-ZA" altLang="zh-CN">
                <a:solidFill>
                  <a:prstClr val="white"/>
                </a:solidFill>
                <a:cs typeface="Arial" pitchFamily="34" charset="0"/>
              </a:rPr>
              <a:pPr>
                <a:defRPr/>
              </a:pPr>
              <a:t>‹#›</a:t>
            </a:fld>
            <a:endParaRPr lang="en-ZA" altLang="zh-CN">
              <a:solidFill>
                <a:prstClr val="white"/>
              </a:solidFill>
              <a:cs typeface="Arial" pitchFamily="34" charset="0"/>
            </a:endParaRPr>
          </a:p>
        </p:txBody>
      </p:sp>
    </p:spTree>
    <p:extLst>
      <p:ext uri="{BB962C8B-B14F-4D97-AF65-F5344CB8AC3E}">
        <p14:creationId xmlns:p14="http://schemas.microsoft.com/office/powerpoint/2010/main" val="24880116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b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 y="214292"/>
            <a:ext cx="7715271" cy="571482"/>
          </a:xfrm>
          <a:prstGeom prst="rect">
            <a:avLst/>
          </a:prstGeom>
        </p:spPr>
        <p:txBody>
          <a:bodyPr lIns="449866" anchor="ctr">
            <a:normAutofit/>
          </a:bodyPr>
          <a:lstStyle>
            <a:lvl1pPr>
              <a:buNone/>
              <a:defRPr sz="2800" baseline="0">
                <a:solidFill>
                  <a:srgbClr val="272727"/>
                </a:solidFill>
              </a:defRPr>
            </a:lvl1pPr>
          </a:lstStyle>
          <a:p>
            <a:pPr lvl="0"/>
            <a:r>
              <a:rPr lang="en-US" smtClean="0"/>
              <a:t>Click to edit Master text styles</a:t>
            </a:r>
          </a:p>
        </p:txBody>
      </p:sp>
      <p:sp>
        <p:nvSpPr>
          <p:cNvPr id="13" name="Table Placeholder 12"/>
          <p:cNvSpPr>
            <a:spLocks noGrp="1"/>
          </p:cNvSpPr>
          <p:nvPr>
            <p:ph type="tbl" sz="quarter" idx="11"/>
          </p:nvPr>
        </p:nvSpPr>
        <p:spPr>
          <a:xfrm>
            <a:off x="357188" y="1285875"/>
            <a:ext cx="8501062" cy="4929188"/>
          </a:xfrm>
          <a:prstGeom prst="rect">
            <a:avLst/>
          </a:prstGeom>
        </p:spPr>
        <p:txBody>
          <a:bodyPr rtlCol="0">
            <a:normAutofit/>
          </a:bodyPr>
          <a:lstStyle>
            <a:lvl1pPr>
              <a:buNone/>
              <a:defRPr lang="en-ZA" sz="2000" kern="1200" baseline="0" dirty="0" smtClean="0">
                <a:solidFill>
                  <a:srgbClr val="272727"/>
                </a:solidFill>
                <a:latin typeface="+mn-lt"/>
                <a:ea typeface="+mn-ea"/>
                <a:cs typeface="+mn-cs"/>
              </a:defRPr>
            </a:lvl1pPr>
          </a:lstStyle>
          <a:p>
            <a:pPr lvl="0"/>
            <a:r>
              <a:rPr lang="en-US" noProof="0" dirty="0" smtClean="0"/>
              <a:t>Click icon to add table</a:t>
            </a:r>
            <a:endParaRPr lang="en-ZA" noProof="0" dirty="0"/>
          </a:p>
        </p:txBody>
      </p:sp>
      <p:sp>
        <p:nvSpPr>
          <p:cNvPr id="4" name="Slide Number Placeholder 3"/>
          <p:cNvSpPr>
            <a:spLocks noGrp="1"/>
          </p:cNvSpPr>
          <p:nvPr>
            <p:ph type="sldNum" sz="quarter" idx="12"/>
          </p:nvPr>
        </p:nvSpPr>
        <p:spPr>
          <a:xfrm>
            <a:off x="8715375" y="6470650"/>
            <a:ext cx="428625" cy="365125"/>
          </a:xfrm>
          <a:prstGeom prst="rect">
            <a:avLst/>
          </a:prstGeom>
        </p:spPr>
        <p:txBody>
          <a:bodyPr vert="horz" wrap="square" lIns="91429" tIns="45715" rIns="91429" bIns="45715"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pPr>
              <a:defRPr/>
            </a:pPr>
            <a:fld id="{99AFEF22-32D0-4EE2-9B67-AA6515D1D9D3}" type="slidenum">
              <a:rPr lang="en-ZA" altLang="zh-CN">
                <a:solidFill>
                  <a:prstClr val="white"/>
                </a:solidFill>
                <a:cs typeface="Arial" pitchFamily="34" charset="0"/>
              </a:rPr>
              <a:pPr>
                <a:defRPr/>
              </a:pPr>
              <a:t>‹#›</a:t>
            </a:fld>
            <a:endParaRPr lang="en-ZA" altLang="zh-CN">
              <a:solidFill>
                <a:prstClr val="white"/>
              </a:solidFill>
              <a:cs typeface="Arial" pitchFamily="34" charset="0"/>
            </a:endParaRPr>
          </a:p>
        </p:txBody>
      </p:sp>
    </p:spTree>
    <p:extLst>
      <p:ext uri="{BB962C8B-B14F-4D97-AF65-F5344CB8AC3E}">
        <p14:creationId xmlns:p14="http://schemas.microsoft.com/office/powerpoint/2010/main" val="301387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 y="214292"/>
            <a:ext cx="7715271" cy="571482"/>
          </a:xfrm>
          <a:prstGeom prst="rect">
            <a:avLst/>
          </a:prstGeom>
        </p:spPr>
        <p:txBody>
          <a:bodyPr lIns="449866" anchor="ctr"/>
          <a:lstStyle>
            <a:lvl1pPr>
              <a:buNone/>
              <a:defRPr sz="2800" baseline="0">
                <a:solidFill>
                  <a:srgbClr val="272727"/>
                </a:solidFill>
              </a:defRPr>
            </a:lvl1pPr>
          </a:lstStyle>
          <a:p>
            <a:pPr lvl="0"/>
            <a:r>
              <a:rPr lang="en-US" smtClean="0"/>
              <a:t>Click to edit Master text styles</a:t>
            </a:r>
          </a:p>
        </p:txBody>
      </p:sp>
      <p:sp>
        <p:nvSpPr>
          <p:cNvPr id="9" name="Chart Placeholder 8"/>
          <p:cNvSpPr>
            <a:spLocks noGrp="1"/>
          </p:cNvSpPr>
          <p:nvPr>
            <p:ph type="chart" sz="quarter" idx="11"/>
          </p:nvPr>
        </p:nvSpPr>
        <p:spPr>
          <a:xfrm>
            <a:off x="357188" y="1285875"/>
            <a:ext cx="8501062" cy="4929188"/>
          </a:xfrm>
        </p:spPr>
        <p:txBody>
          <a:bodyPr rtlCol="0">
            <a:normAutofit/>
          </a:bodyPr>
          <a:lstStyle>
            <a:lvl1pPr>
              <a:defRPr lang="en-ZA" sz="2000" kern="1200" baseline="0" dirty="0" smtClean="0">
                <a:solidFill>
                  <a:srgbClr val="272727"/>
                </a:solidFill>
                <a:latin typeface="+mn-lt"/>
                <a:ea typeface="+mn-ea"/>
                <a:cs typeface="+mn-cs"/>
              </a:defRPr>
            </a:lvl1pPr>
          </a:lstStyle>
          <a:p>
            <a:pPr lvl="0"/>
            <a:r>
              <a:rPr lang="en-US" noProof="0" dirty="0" smtClean="0"/>
              <a:t>Click icon to add chart</a:t>
            </a:r>
            <a:endParaRPr lang="en-ZA" noProof="0" dirty="0"/>
          </a:p>
        </p:txBody>
      </p:sp>
      <p:sp>
        <p:nvSpPr>
          <p:cNvPr id="4" name="Slide Number Placeholder 3"/>
          <p:cNvSpPr>
            <a:spLocks noGrp="1"/>
          </p:cNvSpPr>
          <p:nvPr>
            <p:ph type="sldNum" sz="quarter" idx="12"/>
          </p:nvPr>
        </p:nvSpPr>
        <p:spPr>
          <a:xfrm>
            <a:off x="8715375" y="6470650"/>
            <a:ext cx="428625" cy="365125"/>
          </a:xfrm>
          <a:prstGeom prst="rect">
            <a:avLst/>
          </a:prstGeom>
        </p:spPr>
        <p:txBody>
          <a:bodyPr vert="horz" wrap="square" lIns="91429" tIns="45715" rIns="91429" bIns="45715" numCol="1" anchor="ctr" anchorCtr="0" compatLnSpc="1">
            <a:prstTxWarp prst="textNoShape">
              <a:avLst/>
            </a:prstTxWarp>
          </a:bodyPr>
          <a:lstStyle>
            <a:lvl1pPr algn="r">
              <a:defRPr sz="1100">
                <a:solidFill>
                  <a:schemeClr val="bg1"/>
                </a:solidFill>
                <a:latin typeface="Verdana" pitchFamily="34" charset="0"/>
                <a:ea typeface="宋体" pitchFamily="2" charset="-122"/>
              </a:defRPr>
            </a:lvl1pPr>
          </a:lstStyle>
          <a:p>
            <a:pPr>
              <a:defRPr/>
            </a:pPr>
            <a:fld id="{3EACF84F-7D6F-49A1-83DA-906F97329051}" type="slidenum">
              <a:rPr lang="en-ZA" altLang="zh-CN">
                <a:solidFill>
                  <a:prstClr val="white"/>
                </a:solidFill>
                <a:cs typeface="Arial" pitchFamily="34" charset="0"/>
              </a:rPr>
              <a:pPr>
                <a:defRPr/>
              </a:pPr>
              <a:t>‹#›</a:t>
            </a:fld>
            <a:endParaRPr lang="en-ZA" altLang="zh-CN">
              <a:solidFill>
                <a:prstClr val="white"/>
              </a:solidFill>
              <a:cs typeface="Arial" pitchFamily="34" charset="0"/>
            </a:endParaRPr>
          </a:p>
        </p:txBody>
      </p:sp>
    </p:spTree>
    <p:extLst>
      <p:ext uri="{BB962C8B-B14F-4D97-AF65-F5344CB8AC3E}">
        <p14:creationId xmlns:p14="http://schemas.microsoft.com/office/powerpoint/2010/main" val="3290094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5564377"/>
            <a:ext cx="7072330" cy="507831"/>
          </a:xfrm>
          <a:prstGeom prst="rect">
            <a:avLst/>
          </a:prstGeom>
          <a:noFill/>
        </p:spPr>
        <p:txBody>
          <a:bodyPr lIns="449866">
            <a:noAutofit/>
          </a:bodyPr>
          <a:lstStyle>
            <a:lvl1pPr algn="l">
              <a:defRPr sz="2800" b="0">
                <a:solidFill>
                  <a:srgbClr val="272727"/>
                </a:solidFill>
              </a:defRPr>
            </a:lvl1pPr>
          </a:lstStyle>
          <a:p>
            <a:r>
              <a:rPr lang="en-US" smtClean="0"/>
              <a:t>Click to edit Master title style</a:t>
            </a:r>
            <a:endParaRPr lang="en-ZA" dirty="0"/>
          </a:p>
        </p:txBody>
      </p:sp>
    </p:spTree>
    <p:extLst>
      <p:ext uri="{BB962C8B-B14F-4D97-AF65-F5344CB8AC3E}">
        <p14:creationId xmlns:p14="http://schemas.microsoft.com/office/powerpoint/2010/main" val="1348857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471" indent="0">
              <a:buNone/>
              <a:defRPr sz="1800">
                <a:solidFill>
                  <a:schemeClr val="tx1">
                    <a:tint val="75000"/>
                  </a:schemeClr>
                </a:solidFill>
              </a:defRPr>
            </a:lvl2pPr>
            <a:lvl3pPr marL="912937" indent="0">
              <a:buNone/>
              <a:defRPr sz="1600">
                <a:solidFill>
                  <a:schemeClr val="tx1">
                    <a:tint val="75000"/>
                  </a:schemeClr>
                </a:solidFill>
              </a:defRPr>
            </a:lvl3pPr>
            <a:lvl4pPr marL="1369410" indent="0">
              <a:buNone/>
              <a:defRPr sz="1400">
                <a:solidFill>
                  <a:schemeClr val="tx1">
                    <a:tint val="75000"/>
                  </a:schemeClr>
                </a:solidFill>
              </a:defRPr>
            </a:lvl4pPr>
            <a:lvl5pPr marL="1825875" indent="0">
              <a:buNone/>
              <a:defRPr sz="1400">
                <a:solidFill>
                  <a:schemeClr val="tx1">
                    <a:tint val="75000"/>
                  </a:schemeClr>
                </a:solidFill>
              </a:defRPr>
            </a:lvl5pPr>
            <a:lvl6pPr marL="2282345" indent="0">
              <a:buNone/>
              <a:defRPr sz="1400">
                <a:solidFill>
                  <a:schemeClr val="tx1">
                    <a:tint val="75000"/>
                  </a:schemeClr>
                </a:solidFill>
              </a:defRPr>
            </a:lvl6pPr>
            <a:lvl7pPr marL="2738813" indent="0">
              <a:buNone/>
              <a:defRPr sz="1400">
                <a:solidFill>
                  <a:schemeClr val="tx1">
                    <a:tint val="75000"/>
                  </a:schemeClr>
                </a:solidFill>
              </a:defRPr>
            </a:lvl7pPr>
            <a:lvl8pPr marL="3195285" indent="0">
              <a:buNone/>
              <a:defRPr sz="1400">
                <a:solidFill>
                  <a:schemeClr val="tx1">
                    <a:tint val="75000"/>
                  </a:schemeClr>
                </a:solidFill>
              </a:defRPr>
            </a:lvl8pPr>
            <a:lvl9pPr marL="365175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4FB4E89D-32B2-4063-999B-5C5237942477}" type="datetimeFigureOut">
              <a:rPr lang="en-US" altLang="zh-CN"/>
              <a:pPr/>
              <a:t>17/03/2016</a:t>
            </a:fld>
            <a:endParaRPr lang="en-US" altLang="zh-CN"/>
          </a:p>
        </p:txBody>
      </p:sp>
      <p:sp>
        <p:nvSpPr>
          <p:cNvPr id="5" name="Footer Placeholder 4"/>
          <p:cNvSpPr>
            <a:spLocks noGrp="1"/>
          </p:cNvSpPr>
          <p:nvPr>
            <p:ph type="ftr" sz="quarter" idx="11"/>
          </p:nvPr>
        </p:nvSpPr>
        <p:spPr/>
        <p:txBody>
          <a:bodyPr/>
          <a:lstStyle>
            <a:lvl1pPr>
              <a:defRPr/>
            </a:lvl1pPr>
          </a:lstStyle>
          <a:p>
            <a:endParaRPr lang="en-US" altLang="zh-CN"/>
          </a:p>
        </p:txBody>
      </p:sp>
      <p:sp>
        <p:nvSpPr>
          <p:cNvPr id="6" name="Slide Number Placeholder 5"/>
          <p:cNvSpPr>
            <a:spLocks noGrp="1"/>
          </p:cNvSpPr>
          <p:nvPr>
            <p:ph type="sldNum" sz="quarter" idx="12"/>
          </p:nvPr>
        </p:nvSpPr>
        <p:spPr/>
        <p:txBody>
          <a:bodyPr/>
          <a:lstStyle>
            <a:lvl1pPr>
              <a:defRPr/>
            </a:lvl1pPr>
          </a:lstStyle>
          <a:p>
            <a:fld id="{4046DD74-3DC8-4FAD-8125-826A449AEF20}" type="slidenum">
              <a:rPr lang="en-US" altLang="zh-CN"/>
              <a:pPr/>
              <a:t>‹#›</a:t>
            </a:fld>
            <a:endParaRPr lang="en-US" altLang="zh-CN"/>
          </a:p>
        </p:txBody>
      </p:sp>
    </p:spTree>
    <p:extLst>
      <p:ext uri="{BB962C8B-B14F-4D97-AF65-F5344CB8AC3E}">
        <p14:creationId xmlns:p14="http://schemas.microsoft.com/office/powerpoint/2010/main" val="40463978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SLIDE 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8957" y="99213"/>
            <a:ext cx="7200000" cy="756000"/>
          </a:xfrm>
        </p:spPr>
        <p:txBody>
          <a:bodyPr vert="horz" lIns="0" tIns="0" rIns="0" bIns="0" rtlCol="0" anchor="ctr" anchorCtr="0">
            <a:noAutofit/>
          </a:bodyPr>
          <a:lstStyle>
            <a:lvl1pPr>
              <a:defRPr lang="en-US" dirty="0"/>
            </a:lvl1pPr>
          </a:lstStyle>
          <a:p>
            <a:pPr lvl="0"/>
            <a:r>
              <a:rPr lang="en-US" dirty="0" smtClean="0"/>
              <a:t>Click to insert slide title (maximum 2 lines)</a:t>
            </a:r>
            <a:endParaRPr lang="en-US" dirty="0"/>
          </a:p>
        </p:txBody>
      </p:sp>
      <p:sp>
        <p:nvSpPr>
          <p:cNvPr id="3" name="Content Placeholder 2"/>
          <p:cNvSpPr>
            <a:spLocks noGrp="1"/>
          </p:cNvSpPr>
          <p:nvPr>
            <p:ph idx="1" hasCustomPrompt="1"/>
          </p:nvPr>
        </p:nvSpPr>
        <p:spPr>
          <a:xfrm>
            <a:off x="688957" y="1273177"/>
            <a:ext cx="7750800" cy="4643437"/>
          </a:xfrm>
        </p:spPr>
        <p:txBody>
          <a:bodyPr vert="horz" lIns="0" tIns="0" rIns="0" bIns="0" rtlCol="0">
            <a:noAutofit/>
          </a:bodyPr>
          <a:lstStyle>
            <a:lvl1pPr>
              <a:defRPr lang="en-US" dirty="0" smtClean="0">
                <a:solidFill>
                  <a:schemeClr val="tx1"/>
                </a:solidFill>
              </a:defRPr>
            </a:lvl1pPr>
            <a:lvl2pPr>
              <a:defRPr lang="en-US" dirty="0" smtClean="0">
                <a:solidFill>
                  <a:schemeClr val="tx1"/>
                </a:solidFill>
              </a:defRPr>
            </a:lvl2pPr>
            <a:lvl3pPr>
              <a:defRPr lang="en-US" dirty="0" smtClean="0">
                <a:solidFill>
                  <a:schemeClr val="tx1"/>
                </a:solidFill>
              </a:defRPr>
            </a:lvl3pPr>
            <a:lvl4pPr>
              <a:defRPr lang="en-US" dirty="0" smtClean="0">
                <a:solidFill>
                  <a:schemeClr val="tx1"/>
                </a:solidFill>
              </a:defRPr>
            </a:lvl4pPr>
            <a:lvl5pPr>
              <a:defRPr lang="en-US" dirty="0"/>
            </a:lvl5pPr>
          </a:lstStyle>
          <a:p>
            <a:pPr lvl="0"/>
            <a:r>
              <a:rPr lang="en-US" dirty="0" smtClean="0"/>
              <a:t>Click to insert level one body text</a:t>
            </a:r>
          </a:p>
          <a:p>
            <a:pPr lvl="1"/>
            <a:r>
              <a:rPr lang="en-US" dirty="0" smtClean="0"/>
              <a:t>Second level</a:t>
            </a:r>
          </a:p>
          <a:p>
            <a:pPr lvl="2"/>
            <a:r>
              <a:rPr lang="en-US" dirty="0" smtClean="0"/>
              <a:t>Third level</a:t>
            </a:r>
          </a:p>
          <a:p>
            <a:pPr lvl="3"/>
            <a:r>
              <a:rPr lang="en-US" dirty="0" smtClean="0"/>
              <a:t>Fourth level</a:t>
            </a:r>
          </a:p>
          <a:p>
            <a:pPr lvl="3"/>
            <a:endParaRPr lang="en-US" dirty="0"/>
          </a:p>
        </p:txBody>
      </p:sp>
    </p:spTree>
    <p:extLst>
      <p:ext uri="{BB962C8B-B14F-4D97-AF65-F5344CB8AC3E}">
        <p14:creationId xmlns:p14="http://schemas.microsoft.com/office/powerpoint/2010/main" val="38061669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 y="804241"/>
            <a:ext cx="7072330" cy="507831"/>
          </a:xfrm>
          <a:prstGeom prst="rect">
            <a:avLst/>
          </a:prstGeom>
          <a:noFill/>
        </p:spPr>
        <p:txBody>
          <a:bodyPr lIns="449806">
            <a:noAutofit/>
          </a:bodyPr>
          <a:lstStyle>
            <a:lvl1pPr algn="l">
              <a:defRPr sz="2100" b="0">
                <a:solidFill>
                  <a:srgbClr val="272727"/>
                </a:solidFill>
              </a:defRPr>
            </a:lvl1pPr>
          </a:lstStyle>
          <a:p>
            <a:r>
              <a:rPr lang="en-US" smtClean="0"/>
              <a:t>Click to edit Master title style</a:t>
            </a:r>
            <a:endParaRPr lang="en-ZA" dirty="0"/>
          </a:p>
        </p:txBody>
      </p:sp>
    </p:spTree>
    <p:extLst>
      <p:ext uri="{BB962C8B-B14F-4D97-AF65-F5344CB8AC3E}">
        <p14:creationId xmlns:p14="http://schemas.microsoft.com/office/powerpoint/2010/main" val="107274730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3_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3031677" y="2082800"/>
            <a:ext cx="5605512" cy="465324"/>
          </a:xfrm>
        </p:spPr>
        <p:txBody>
          <a:bodyPr>
            <a:noAutofit/>
          </a:bodyPr>
          <a:lstStyle>
            <a:lvl1pPr marL="0" indent="0" algn="l">
              <a:buNone/>
              <a:defRPr sz="1050" b="1">
                <a:solidFill>
                  <a:schemeClr val="tx2"/>
                </a:solidFill>
              </a:defRPr>
            </a:lvl1pPr>
          </a:lstStyle>
          <a:p>
            <a:pPr lvl="0"/>
            <a:r>
              <a:rPr lang="en-US" dirty="0" smtClean="0"/>
              <a:t>Click to edit Master text styles</a:t>
            </a:r>
            <a:endParaRPr lang="en-US" dirty="0"/>
          </a:p>
        </p:txBody>
      </p:sp>
      <p:sp>
        <p:nvSpPr>
          <p:cNvPr id="15" name="Title 14"/>
          <p:cNvSpPr>
            <a:spLocks noGrp="1"/>
          </p:cNvSpPr>
          <p:nvPr>
            <p:ph type="title" hasCustomPrompt="1"/>
          </p:nvPr>
        </p:nvSpPr>
        <p:spPr>
          <a:xfrm>
            <a:off x="3031592" y="1369547"/>
            <a:ext cx="5617113" cy="718482"/>
          </a:xfrm>
        </p:spPr>
        <p:txBody>
          <a:bodyPr anchor="b" anchorCtr="0"/>
          <a:lstStyle>
            <a:lvl1pPr algn="l">
              <a:defRPr sz="1350" b="1" i="1">
                <a:solidFill>
                  <a:srgbClr val="FF0000"/>
                </a:solidFill>
              </a:defRPr>
            </a:lvl1pPr>
          </a:lstStyle>
          <a:p>
            <a:r>
              <a:rPr lang="en-US" dirty="0" smtClean="0"/>
              <a:t>Header</a:t>
            </a:r>
            <a:endParaRPr lang="en-US" dirty="0"/>
          </a:p>
        </p:txBody>
      </p:sp>
      <p:sp>
        <p:nvSpPr>
          <p:cNvPr id="2" name="Rectangle 1"/>
          <p:cNvSpPr/>
          <p:nvPr userDrawn="1"/>
        </p:nvSpPr>
        <p:spPr>
          <a:xfrm>
            <a:off x="0" y="3316406"/>
            <a:ext cx="9144000" cy="3541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4" name="Rectangle 103"/>
          <p:cNvSpPr/>
          <p:nvPr userDrawn="1"/>
        </p:nvSpPr>
        <p:spPr>
          <a:xfrm>
            <a:off x="1" y="0"/>
            <a:ext cx="2725738" cy="6858000"/>
          </a:xfrm>
          <a:prstGeom prst="rect">
            <a:avLst/>
          </a:pr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168587785"/>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1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1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8BC04205-3ADF-40C8-B20D-A760DC1D7DDA}" type="datetimeFigureOut">
              <a:rPr lang="en-US" altLang="zh-CN"/>
              <a:pPr/>
              <a:t>17/03/2016</a:t>
            </a:fld>
            <a:endParaRPr lang="en-US" altLang="zh-CN"/>
          </a:p>
        </p:txBody>
      </p:sp>
      <p:sp>
        <p:nvSpPr>
          <p:cNvPr id="6" name="Footer Placeholder 4"/>
          <p:cNvSpPr>
            <a:spLocks noGrp="1"/>
          </p:cNvSpPr>
          <p:nvPr>
            <p:ph type="ftr" sz="quarter" idx="11"/>
          </p:nvPr>
        </p:nvSpPr>
        <p:spPr/>
        <p:txBody>
          <a:bodyPr/>
          <a:lstStyle>
            <a:lvl1pPr>
              <a:defRPr/>
            </a:lvl1pPr>
          </a:lstStyle>
          <a:p>
            <a:endParaRPr lang="en-US" altLang="zh-CN"/>
          </a:p>
        </p:txBody>
      </p:sp>
      <p:sp>
        <p:nvSpPr>
          <p:cNvPr id="7" name="Slide Number Placeholder 5"/>
          <p:cNvSpPr>
            <a:spLocks noGrp="1"/>
          </p:cNvSpPr>
          <p:nvPr>
            <p:ph type="sldNum" sz="quarter" idx="12"/>
          </p:nvPr>
        </p:nvSpPr>
        <p:spPr/>
        <p:txBody>
          <a:bodyPr/>
          <a:lstStyle>
            <a:lvl1pPr>
              <a:defRPr/>
            </a:lvl1pPr>
          </a:lstStyle>
          <a:p>
            <a:fld id="{175A8F55-55F2-418E-99A5-8559E7F50B69}" type="slidenum">
              <a:rPr lang="en-US" altLang="zh-CN"/>
              <a:pPr/>
              <a:t>‹#›</a:t>
            </a:fld>
            <a:endParaRPr lang="en-US" altLang="zh-CN"/>
          </a:p>
        </p:txBody>
      </p:sp>
    </p:spTree>
    <p:extLst>
      <p:ext uri="{BB962C8B-B14F-4D97-AF65-F5344CB8AC3E}">
        <p14:creationId xmlns:p14="http://schemas.microsoft.com/office/powerpoint/2010/main" val="1925538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471" indent="0">
              <a:buNone/>
              <a:defRPr sz="2000" b="1"/>
            </a:lvl2pPr>
            <a:lvl3pPr marL="912937" indent="0">
              <a:buNone/>
              <a:defRPr sz="1800" b="1"/>
            </a:lvl3pPr>
            <a:lvl4pPr marL="1369410" indent="0">
              <a:buNone/>
              <a:defRPr sz="1600" b="1"/>
            </a:lvl4pPr>
            <a:lvl5pPr marL="1825875" indent="0">
              <a:buNone/>
              <a:defRPr sz="1600" b="1"/>
            </a:lvl5pPr>
            <a:lvl6pPr marL="2282345" indent="0">
              <a:buNone/>
              <a:defRPr sz="1600" b="1"/>
            </a:lvl6pPr>
            <a:lvl7pPr marL="2738813" indent="0">
              <a:buNone/>
              <a:defRPr sz="1600" b="1"/>
            </a:lvl7pPr>
            <a:lvl8pPr marL="3195285" indent="0">
              <a:buNone/>
              <a:defRPr sz="1600" b="1"/>
            </a:lvl8pPr>
            <a:lvl9pPr marL="365175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8" y="1535113"/>
            <a:ext cx="4041775" cy="639762"/>
          </a:xfrm>
        </p:spPr>
        <p:txBody>
          <a:bodyPr anchor="b"/>
          <a:lstStyle>
            <a:lvl1pPr marL="0" indent="0">
              <a:buNone/>
              <a:defRPr sz="2400" b="1"/>
            </a:lvl1pPr>
            <a:lvl2pPr marL="456471" indent="0">
              <a:buNone/>
              <a:defRPr sz="2000" b="1"/>
            </a:lvl2pPr>
            <a:lvl3pPr marL="912937" indent="0">
              <a:buNone/>
              <a:defRPr sz="1800" b="1"/>
            </a:lvl3pPr>
            <a:lvl4pPr marL="1369410" indent="0">
              <a:buNone/>
              <a:defRPr sz="1600" b="1"/>
            </a:lvl4pPr>
            <a:lvl5pPr marL="1825875" indent="0">
              <a:buNone/>
              <a:defRPr sz="1600" b="1"/>
            </a:lvl5pPr>
            <a:lvl6pPr marL="2282345" indent="0">
              <a:buNone/>
              <a:defRPr sz="1600" b="1"/>
            </a:lvl6pPr>
            <a:lvl7pPr marL="2738813" indent="0">
              <a:buNone/>
              <a:defRPr sz="1600" b="1"/>
            </a:lvl7pPr>
            <a:lvl8pPr marL="3195285" indent="0">
              <a:buNone/>
              <a:defRPr sz="1600" b="1"/>
            </a:lvl8pPr>
            <a:lvl9pPr marL="365175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ED4A3687-320C-4342-86E9-17BB6361252D}" type="datetimeFigureOut">
              <a:rPr lang="en-US" altLang="zh-CN"/>
              <a:pPr/>
              <a:t>17/03/2016</a:t>
            </a:fld>
            <a:endParaRPr lang="en-US" altLang="zh-CN"/>
          </a:p>
        </p:txBody>
      </p:sp>
      <p:sp>
        <p:nvSpPr>
          <p:cNvPr id="8" name="Footer Placeholder 4"/>
          <p:cNvSpPr>
            <a:spLocks noGrp="1"/>
          </p:cNvSpPr>
          <p:nvPr>
            <p:ph type="ftr" sz="quarter" idx="11"/>
          </p:nvPr>
        </p:nvSpPr>
        <p:spPr/>
        <p:txBody>
          <a:bodyPr/>
          <a:lstStyle>
            <a:lvl1pPr>
              <a:defRPr/>
            </a:lvl1pPr>
          </a:lstStyle>
          <a:p>
            <a:endParaRPr lang="en-US" altLang="zh-CN"/>
          </a:p>
        </p:txBody>
      </p:sp>
      <p:sp>
        <p:nvSpPr>
          <p:cNvPr id="9" name="Slide Number Placeholder 5"/>
          <p:cNvSpPr>
            <a:spLocks noGrp="1"/>
          </p:cNvSpPr>
          <p:nvPr>
            <p:ph type="sldNum" sz="quarter" idx="12"/>
          </p:nvPr>
        </p:nvSpPr>
        <p:spPr/>
        <p:txBody>
          <a:bodyPr/>
          <a:lstStyle>
            <a:lvl1pPr>
              <a:defRPr/>
            </a:lvl1pPr>
          </a:lstStyle>
          <a:p>
            <a:fld id="{FB0126FC-46ED-4F4D-AB1A-3E42E02CCDCD}" type="slidenum">
              <a:rPr lang="en-US" altLang="zh-CN"/>
              <a:pPr/>
              <a:t>‹#›</a:t>
            </a:fld>
            <a:endParaRPr lang="en-US" altLang="zh-CN"/>
          </a:p>
        </p:txBody>
      </p:sp>
    </p:spTree>
    <p:extLst>
      <p:ext uri="{BB962C8B-B14F-4D97-AF65-F5344CB8AC3E}">
        <p14:creationId xmlns:p14="http://schemas.microsoft.com/office/powerpoint/2010/main" val="3694284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468D41B2-7E5C-4E2D-BEEC-DF98E6515B8B}" type="datetimeFigureOut">
              <a:rPr lang="en-US" altLang="zh-CN"/>
              <a:pPr/>
              <a:t>17/03/2016</a:t>
            </a:fld>
            <a:endParaRPr lang="en-US" altLang="zh-CN"/>
          </a:p>
        </p:txBody>
      </p:sp>
      <p:sp>
        <p:nvSpPr>
          <p:cNvPr id="4" name="Footer Placeholder 4"/>
          <p:cNvSpPr>
            <a:spLocks noGrp="1"/>
          </p:cNvSpPr>
          <p:nvPr>
            <p:ph type="ftr" sz="quarter" idx="11"/>
          </p:nvPr>
        </p:nvSpPr>
        <p:spPr/>
        <p:txBody>
          <a:bodyPr/>
          <a:lstStyle>
            <a:lvl1pPr>
              <a:defRPr/>
            </a:lvl1pPr>
          </a:lstStyle>
          <a:p>
            <a:endParaRPr lang="en-US" altLang="zh-CN"/>
          </a:p>
        </p:txBody>
      </p:sp>
      <p:sp>
        <p:nvSpPr>
          <p:cNvPr id="5" name="Slide Number Placeholder 5"/>
          <p:cNvSpPr>
            <a:spLocks noGrp="1"/>
          </p:cNvSpPr>
          <p:nvPr>
            <p:ph type="sldNum" sz="quarter" idx="12"/>
          </p:nvPr>
        </p:nvSpPr>
        <p:spPr/>
        <p:txBody>
          <a:bodyPr/>
          <a:lstStyle>
            <a:lvl1pPr>
              <a:defRPr/>
            </a:lvl1pPr>
          </a:lstStyle>
          <a:p>
            <a:fld id="{C2E1D86C-FA3B-49CA-8FFB-4CEE5B87AEDC}" type="slidenum">
              <a:rPr lang="en-US" altLang="zh-CN"/>
              <a:pPr/>
              <a:t>‹#›</a:t>
            </a:fld>
            <a:endParaRPr lang="en-US" altLang="zh-CN"/>
          </a:p>
        </p:txBody>
      </p:sp>
    </p:spTree>
    <p:extLst>
      <p:ext uri="{BB962C8B-B14F-4D97-AF65-F5344CB8AC3E}">
        <p14:creationId xmlns:p14="http://schemas.microsoft.com/office/powerpoint/2010/main" val="33756488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39E94E8B-F9E8-4CF5-9265-4357B10AC982}" type="datetimeFigureOut">
              <a:rPr lang="en-US" altLang="zh-CN"/>
              <a:pPr/>
              <a:t>17/03/2016</a:t>
            </a:fld>
            <a:endParaRPr lang="en-US" altLang="zh-CN"/>
          </a:p>
        </p:txBody>
      </p:sp>
      <p:sp>
        <p:nvSpPr>
          <p:cNvPr id="3" name="Footer Placeholder 4"/>
          <p:cNvSpPr>
            <a:spLocks noGrp="1"/>
          </p:cNvSpPr>
          <p:nvPr>
            <p:ph type="ftr" sz="quarter" idx="11"/>
          </p:nvPr>
        </p:nvSpPr>
        <p:spPr/>
        <p:txBody>
          <a:bodyPr/>
          <a:lstStyle>
            <a:lvl1pPr>
              <a:defRPr/>
            </a:lvl1pPr>
          </a:lstStyle>
          <a:p>
            <a:endParaRPr lang="en-US" altLang="zh-CN"/>
          </a:p>
        </p:txBody>
      </p:sp>
      <p:sp>
        <p:nvSpPr>
          <p:cNvPr id="4" name="Slide Number Placeholder 5"/>
          <p:cNvSpPr>
            <a:spLocks noGrp="1"/>
          </p:cNvSpPr>
          <p:nvPr>
            <p:ph type="sldNum" sz="quarter" idx="12"/>
          </p:nvPr>
        </p:nvSpPr>
        <p:spPr/>
        <p:txBody>
          <a:bodyPr/>
          <a:lstStyle>
            <a:lvl1pPr>
              <a:defRPr/>
            </a:lvl1pPr>
          </a:lstStyle>
          <a:p>
            <a:fld id="{DB187332-8F34-42A9-A297-AC767B764D01}" type="slidenum">
              <a:rPr lang="en-US" altLang="zh-CN"/>
              <a:pPr/>
              <a:t>‹#›</a:t>
            </a:fld>
            <a:endParaRPr lang="en-US" altLang="zh-CN"/>
          </a:p>
        </p:txBody>
      </p:sp>
    </p:spTree>
    <p:extLst>
      <p:ext uri="{BB962C8B-B14F-4D97-AF65-F5344CB8AC3E}">
        <p14:creationId xmlns:p14="http://schemas.microsoft.com/office/powerpoint/2010/main" val="1271923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3" y="1435100"/>
            <a:ext cx="3008313" cy="4691063"/>
          </a:xfrm>
        </p:spPr>
        <p:txBody>
          <a:bodyPr/>
          <a:lstStyle>
            <a:lvl1pPr marL="0" indent="0">
              <a:buNone/>
              <a:defRPr sz="1400"/>
            </a:lvl1pPr>
            <a:lvl2pPr marL="456471" indent="0">
              <a:buNone/>
              <a:defRPr sz="1200"/>
            </a:lvl2pPr>
            <a:lvl3pPr marL="912937" indent="0">
              <a:buNone/>
              <a:defRPr sz="1000"/>
            </a:lvl3pPr>
            <a:lvl4pPr marL="1369410" indent="0">
              <a:buNone/>
              <a:defRPr sz="900"/>
            </a:lvl4pPr>
            <a:lvl5pPr marL="1825875" indent="0">
              <a:buNone/>
              <a:defRPr sz="900"/>
            </a:lvl5pPr>
            <a:lvl6pPr marL="2282345" indent="0">
              <a:buNone/>
              <a:defRPr sz="900"/>
            </a:lvl6pPr>
            <a:lvl7pPr marL="2738813" indent="0">
              <a:buNone/>
              <a:defRPr sz="900"/>
            </a:lvl7pPr>
            <a:lvl8pPr marL="3195285" indent="0">
              <a:buNone/>
              <a:defRPr sz="900"/>
            </a:lvl8pPr>
            <a:lvl9pPr marL="365175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0770426F-C28B-4780-8470-F75B8A7C6A88}" type="datetimeFigureOut">
              <a:rPr lang="en-US" altLang="zh-CN"/>
              <a:pPr/>
              <a:t>17/03/2016</a:t>
            </a:fld>
            <a:endParaRPr lang="en-US" altLang="zh-CN"/>
          </a:p>
        </p:txBody>
      </p:sp>
      <p:sp>
        <p:nvSpPr>
          <p:cNvPr id="6" name="Footer Placeholder 4"/>
          <p:cNvSpPr>
            <a:spLocks noGrp="1"/>
          </p:cNvSpPr>
          <p:nvPr>
            <p:ph type="ftr" sz="quarter" idx="11"/>
          </p:nvPr>
        </p:nvSpPr>
        <p:spPr/>
        <p:txBody>
          <a:bodyPr/>
          <a:lstStyle>
            <a:lvl1pPr>
              <a:defRPr/>
            </a:lvl1pPr>
          </a:lstStyle>
          <a:p>
            <a:endParaRPr lang="en-US" altLang="zh-CN"/>
          </a:p>
        </p:txBody>
      </p:sp>
      <p:sp>
        <p:nvSpPr>
          <p:cNvPr id="7" name="Slide Number Placeholder 5"/>
          <p:cNvSpPr>
            <a:spLocks noGrp="1"/>
          </p:cNvSpPr>
          <p:nvPr>
            <p:ph type="sldNum" sz="quarter" idx="12"/>
          </p:nvPr>
        </p:nvSpPr>
        <p:spPr/>
        <p:txBody>
          <a:bodyPr/>
          <a:lstStyle>
            <a:lvl1pPr>
              <a:defRPr/>
            </a:lvl1pPr>
          </a:lstStyle>
          <a:p>
            <a:fld id="{370DFE3A-B05C-4EDC-86C4-758287AC6A07}" type="slidenum">
              <a:rPr lang="en-US" altLang="zh-CN"/>
              <a:pPr/>
              <a:t>‹#›</a:t>
            </a:fld>
            <a:endParaRPr lang="en-US" altLang="zh-CN"/>
          </a:p>
        </p:txBody>
      </p:sp>
    </p:spTree>
    <p:extLst>
      <p:ext uri="{BB962C8B-B14F-4D97-AF65-F5344CB8AC3E}">
        <p14:creationId xmlns:p14="http://schemas.microsoft.com/office/powerpoint/2010/main" val="2452781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471" indent="0">
              <a:buNone/>
              <a:defRPr sz="2800"/>
            </a:lvl2pPr>
            <a:lvl3pPr marL="912937" indent="0">
              <a:buNone/>
              <a:defRPr sz="2400"/>
            </a:lvl3pPr>
            <a:lvl4pPr marL="1369410" indent="0">
              <a:buNone/>
              <a:defRPr sz="2000"/>
            </a:lvl4pPr>
            <a:lvl5pPr marL="1825875" indent="0">
              <a:buNone/>
              <a:defRPr sz="2000"/>
            </a:lvl5pPr>
            <a:lvl6pPr marL="2282345" indent="0">
              <a:buNone/>
              <a:defRPr sz="2000"/>
            </a:lvl6pPr>
            <a:lvl7pPr marL="2738813" indent="0">
              <a:buNone/>
              <a:defRPr sz="2000"/>
            </a:lvl7pPr>
            <a:lvl8pPr marL="3195285" indent="0">
              <a:buNone/>
              <a:defRPr sz="2000"/>
            </a:lvl8pPr>
            <a:lvl9pPr marL="365175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471" indent="0">
              <a:buNone/>
              <a:defRPr sz="1200"/>
            </a:lvl2pPr>
            <a:lvl3pPr marL="912937" indent="0">
              <a:buNone/>
              <a:defRPr sz="1000"/>
            </a:lvl3pPr>
            <a:lvl4pPr marL="1369410" indent="0">
              <a:buNone/>
              <a:defRPr sz="900"/>
            </a:lvl4pPr>
            <a:lvl5pPr marL="1825875" indent="0">
              <a:buNone/>
              <a:defRPr sz="900"/>
            </a:lvl5pPr>
            <a:lvl6pPr marL="2282345" indent="0">
              <a:buNone/>
              <a:defRPr sz="900"/>
            </a:lvl6pPr>
            <a:lvl7pPr marL="2738813" indent="0">
              <a:buNone/>
              <a:defRPr sz="900"/>
            </a:lvl7pPr>
            <a:lvl8pPr marL="3195285" indent="0">
              <a:buNone/>
              <a:defRPr sz="900"/>
            </a:lvl8pPr>
            <a:lvl9pPr marL="365175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B73C64C3-F1D4-49AD-9B57-0A53546DD190}" type="datetimeFigureOut">
              <a:rPr lang="en-US" altLang="zh-CN"/>
              <a:pPr/>
              <a:t>17/03/2016</a:t>
            </a:fld>
            <a:endParaRPr lang="en-US" altLang="zh-CN"/>
          </a:p>
        </p:txBody>
      </p:sp>
      <p:sp>
        <p:nvSpPr>
          <p:cNvPr id="6" name="Footer Placeholder 4"/>
          <p:cNvSpPr>
            <a:spLocks noGrp="1"/>
          </p:cNvSpPr>
          <p:nvPr>
            <p:ph type="ftr" sz="quarter" idx="11"/>
          </p:nvPr>
        </p:nvSpPr>
        <p:spPr/>
        <p:txBody>
          <a:bodyPr/>
          <a:lstStyle>
            <a:lvl1pPr>
              <a:defRPr/>
            </a:lvl1pPr>
          </a:lstStyle>
          <a:p>
            <a:endParaRPr lang="en-US" altLang="zh-CN"/>
          </a:p>
        </p:txBody>
      </p:sp>
      <p:sp>
        <p:nvSpPr>
          <p:cNvPr id="7" name="Slide Number Placeholder 5"/>
          <p:cNvSpPr>
            <a:spLocks noGrp="1"/>
          </p:cNvSpPr>
          <p:nvPr>
            <p:ph type="sldNum" sz="quarter" idx="12"/>
          </p:nvPr>
        </p:nvSpPr>
        <p:spPr/>
        <p:txBody>
          <a:bodyPr/>
          <a:lstStyle>
            <a:lvl1pPr>
              <a:defRPr/>
            </a:lvl1pPr>
          </a:lstStyle>
          <a:p>
            <a:fld id="{A40B2AAF-89D9-463C-87B3-FF7E6DF99ACA}" type="slidenum">
              <a:rPr lang="en-US" altLang="zh-CN"/>
              <a:pPr/>
              <a:t>‹#›</a:t>
            </a:fld>
            <a:endParaRPr lang="en-US" altLang="zh-CN"/>
          </a:p>
        </p:txBody>
      </p:sp>
    </p:spTree>
    <p:extLst>
      <p:ext uri="{BB962C8B-B14F-4D97-AF65-F5344CB8AC3E}">
        <p14:creationId xmlns:p14="http://schemas.microsoft.com/office/powerpoint/2010/main" val="106719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2.xml"/><Relationship Id="rId7" Type="http://schemas.openxmlformats.org/officeDocument/2006/relationships/image" Target="../media/image8.jpe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4.xml"/><Relationship Id="rId9"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93" tIns="45646" rIns="91293" bIns="45646" numCol="1" anchor="ctr" anchorCtr="0" compatLnSpc="1">
            <a:prstTxWarp prst="textNoShape">
              <a:avLst/>
            </a:prstTxWarp>
          </a:bodyPr>
          <a:lstStyle/>
          <a:p>
            <a:pPr lvl="0"/>
            <a:r>
              <a:rPr lang="en-US" altLang="zh-CN" smtClean="0"/>
              <a:t>Click to edit Master title style</a:t>
            </a:r>
          </a:p>
        </p:txBody>
      </p:sp>
      <p:sp>
        <p:nvSpPr>
          <p:cNvPr id="1027" name="Text Placeholder 2"/>
          <p:cNvSpPr>
            <a:spLocks noGrp="1"/>
          </p:cNvSpPr>
          <p:nvPr>
            <p:ph type="body" idx="1"/>
          </p:nvPr>
        </p:nvSpPr>
        <p:spPr bwMode="auto">
          <a:xfrm>
            <a:off x="457200" y="1600213"/>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93" tIns="45646" rIns="91293" bIns="45646"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4" name="Date Placeholder 3"/>
          <p:cNvSpPr>
            <a:spLocks noGrp="1"/>
          </p:cNvSpPr>
          <p:nvPr>
            <p:ph type="dt" sz="half" idx="2"/>
          </p:nvPr>
        </p:nvSpPr>
        <p:spPr>
          <a:xfrm>
            <a:off x="457201" y="6356351"/>
            <a:ext cx="2133600" cy="365125"/>
          </a:xfrm>
          <a:prstGeom prst="rect">
            <a:avLst/>
          </a:prstGeom>
        </p:spPr>
        <p:txBody>
          <a:bodyPr vert="horz" wrap="square" lIns="91293" tIns="45646" rIns="91293" bIns="45646" numCol="1" anchor="ctr" anchorCtr="0" compatLnSpc="1">
            <a:prstTxWarp prst="textNoShape">
              <a:avLst/>
            </a:prstTxWarp>
          </a:bodyPr>
          <a:lstStyle>
            <a:lvl1pPr>
              <a:defRPr sz="1200">
                <a:solidFill>
                  <a:srgbClr val="898989"/>
                </a:solidFill>
                <a:latin typeface="Calibri" pitchFamily="34" charset="0"/>
              </a:defRPr>
            </a:lvl1pPr>
          </a:lstStyle>
          <a:p>
            <a:fld id="{2BD385F4-5B0D-4914-A1AC-4FF419AE9871}" type="datetimeFigureOut">
              <a:rPr lang="en-US" altLang="zh-CN"/>
              <a:pPr/>
              <a:t>17/03/2016</a:t>
            </a:fld>
            <a:endParaRPr lang="en-US" altLang="zh-CN"/>
          </a:p>
        </p:txBody>
      </p:sp>
      <p:sp>
        <p:nvSpPr>
          <p:cNvPr id="5" name="Footer Placeholder 4"/>
          <p:cNvSpPr>
            <a:spLocks noGrp="1"/>
          </p:cNvSpPr>
          <p:nvPr>
            <p:ph type="ftr" sz="quarter" idx="3"/>
          </p:nvPr>
        </p:nvSpPr>
        <p:spPr>
          <a:xfrm>
            <a:off x="3124200" y="6356351"/>
            <a:ext cx="2895600" cy="365125"/>
          </a:xfrm>
          <a:prstGeom prst="rect">
            <a:avLst/>
          </a:prstGeom>
        </p:spPr>
        <p:txBody>
          <a:bodyPr vert="horz" wrap="square" lIns="91293" tIns="45646" rIns="91293" bIns="45646" numCol="1" anchor="ctr" anchorCtr="0" compatLnSpc="1">
            <a:prstTxWarp prst="textNoShape">
              <a:avLst/>
            </a:prstTxWarp>
          </a:bodyPr>
          <a:lstStyle>
            <a:lvl1pPr algn="ctr">
              <a:defRPr sz="1200">
                <a:solidFill>
                  <a:srgbClr val="898989"/>
                </a:solidFill>
                <a:latin typeface="Calibri" pitchFamily="34" charset="0"/>
              </a:defRPr>
            </a:lvl1pPr>
          </a:lstStyle>
          <a:p>
            <a:endParaRPr lang="en-US" altLang="zh-CN"/>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wrap="square" lIns="91293" tIns="45646" rIns="91293" bIns="45646" numCol="1" anchor="ctr" anchorCtr="0" compatLnSpc="1">
            <a:prstTxWarp prst="textNoShape">
              <a:avLst/>
            </a:prstTxWarp>
          </a:bodyPr>
          <a:lstStyle>
            <a:lvl1pPr algn="r">
              <a:defRPr sz="1200">
                <a:solidFill>
                  <a:srgbClr val="898989"/>
                </a:solidFill>
                <a:latin typeface="Calibri" pitchFamily="34" charset="0"/>
              </a:defRPr>
            </a:lvl1pPr>
          </a:lstStyle>
          <a:p>
            <a:fld id="{7017CD72-001C-4DA1-9FF5-1EC058CDDB14}" type="slidenum">
              <a:rPr lang="en-US" altLang="zh-CN"/>
              <a:pPr/>
              <a:t>‹#›</a:t>
            </a:fld>
            <a:endParaRPr lang="en-US" altLang="zh-CN"/>
          </a:p>
        </p:txBody>
      </p:sp>
    </p:spTree>
  </p:cSld>
  <p:clrMap bg1="lt1" tx1="dk1" bg2="lt2" tx2="dk2" accent1="accent1" accent2="accent2" accent3="accent3" accent4="accent4" accent5="accent5" accent6="accent6" hlink="hlink" folHlink="folHlink"/>
  <p:sldLayoutIdLst>
    <p:sldLayoutId id="2147493710" r:id="rId1"/>
    <p:sldLayoutId id="2147493711" r:id="rId2"/>
    <p:sldLayoutId id="2147493712" r:id="rId3"/>
    <p:sldLayoutId id="2147493713" r:id="rId4"/>
    <p:sldLayoutId id="2147493714" r:id="rId5"/>
    <p:sldLayoutId id="2147493715" r:id="rId6"/>
    <p:sldLayoutId id="2147493716" r:id="rId7"/>
    <p:sldLayoutId id="2147493717" r:id="rId8"/>
    <p:sldLayoutId id="2147493718" r:id="rId9"/>
    <p:sldLayoutId id="2147493719" r:id="rId10"/>
    <p:sldLayoutId id="214749372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471" algn="ctr" rtl="0" fontAlgn="base">
        <a:spcBef>
          <a:spcPct val="0"/>
        </a:spcBef>
        <a:spcAft>
          <a:spcPct val="0"/>
        </a:spcAft>
        <a:defRPr sz="4400">
          <a:solidFill>
            <a:schemeClr val="tx1"/>
          </a:solidFill>
          <a:latin typeface="Calibri" pitchFamily="34" charset="0"/>
        </a:defRPr>
      </a:lvl6pPr>
      <a:lvl7pPr marL="912937" algn="ctr" rtl="0" fontAlgn="base">
        <a:spcBef>
          <a:spcPct val="0"/>
        </a:spcBef>
        <a:spcAft>
          <a:spcPct val="0"/>
        </a:spcAft>
        <a:defRPr sz="4400">
          <a:solidFill>
            <a:schemeClr val="tx1"/>
          </a:solidFill>
          <a:latin typeface="Calibri" pitchFamily="34" charset="0"/>
        </a:defRPr>
      </a:lvl7pPr>
      <a:lvl8pPr marL="1369410" algn="ctr" rtl="0" fontAlgn="base">
        <a:spcBef>
          <a:spcPct val="0"/>
        </a:spcBef>
        <a:spcAft>
          <a:spcPct val="0"/>
        </a:spcAft>
        <a:defRPr sz="4400">
          <a:solidFill>
            <a:schemeClr val="tx1"/>
          </a:solidFill>
          <a:latin typeface="Calibri" pitchFamily="34" charset="0"/>
        </a:defRPr>
      </a:lvl8pPr>
      <a:lvl9pPr marL="1825875" algn="ctr" rtl="0" fontAlgn="base">
        <a:spcBef>
          <a:spcPct val="0"/>
        </a:spcBef>
        <a:spcAft>
          <a:spcPct val="0"/>
        </a:spcAft>
        <a:defRPr sz="4400">
          <a:solidFill>
            <a:schemeClr val="tx1"/>
          </a:solidFill>
          <a:latin typeface="Calibri" pitchFamily="34" charset="0"/>
        </a:defRPr>
      </a:lvl9pPr>
    </p:titleStyle>
    <p:bodyStyle>
      <a:lvl1pPr marL="342353" indent="-342353"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1762" indent="-285295"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172" indent="-228236"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7641" indent="-228236"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110" indent="-228236"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0578" indent="-228236" algn="l" defTabSz="9129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49" indent="-228236" algn="l" defTabSz="9129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517" indent="-228236" algn="l" defTabSz="9129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86" indent="-228236" algn="l" defTabSz="9129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937" rtl="0" eaLnBrk="1" latinLnBrk="0" hangingPunct="1">
        <a:defRPr sz="1800" kern="1200">
          <a:solidFill>
            <a:schemeClr val="tx1"/>
          </a:solidFill>
          <a:latin typeface="+mn-lt"/>
          <a:ea typeface="+mn-ea"/>
          <a:cs typeface="+mn-cs"/>
        </a:defRPr>
      </a:lvl1pPr>
      <a:lvl2pPr marL="456471" algn="l" defTabSz="912937" rtl="0" eaLnBrk="1" latinLnBrk="0" hangingPunct="1">
        <a:defRPr sz="1800" kern="1200">
          <a:solidFill>
            <a:schemeClr val="tx1"/>
          </a:solidFill>
          <a:latin typeface="+mn-lt"/>
          <a:ea typeface="+mn-ea"/>
          <a:cs typeface="+mn-cs"/>
        </a:defRPr>
      </a:lvl2pPr>
      <a:lvl3pPr marL="912937" algn="l" defTabSz="912937" rtl="0" eaLnBrk="1" latinLnBrk="0" hangingPunct="1">
        <a:defRPr sz="1800" kern="1200">
          <a:solidFill>
            <a:schemeClr val="tx1"/>
          </a:solidFill>
          <a:latin typeface="+mn-lt"/>
          <a:ea typeface="+mn-ea"/>
          <a:cs typeface="+mn-cs"/>
        </a:defRPr>
      </a:lvl3pPr>
      <a:lvl4pPr marL="1369410" algn="l" defTabSz="912937" rtl="0" eaLnBrk="1" latinLnBrk="0" hangingPunct="1">
        <a:defRPr sz="1800" kern="1200">
          <a:solidFill>
            <a:schemeClr val="tx1"/>
          </a:solidFill>
          <a:latin typeface="+mn-lt"/>
          <a:ea typeface="+mn-ea"/>
          <a:cs typeface="+mn-cs"/>
        </a:defRPr>
      </a:lvl4pPr>
      <a:lvl5pPr marL="1825875" algn="l" defTabSz="912937" rtl="0" eaLnBrk="1" latinLnBrk="0" hangingPunct="1">
        <a:defRPr sz="1800" kern="1200">
          <a:solidFill>
            <a:schemeClr val="tx1"/>
          </a:solidFill>
          <a:latin typeface="+mn-lt"/>
          <a:ea typeface="+mn-ea"/>
          <a:cs typeface="+mn-cs"/>
        </a:defRPr>
      </a:lvl5pPr>
      <a:lvl6pPr marL="2282345" algn="l" defTabSz="912937" rtl="0" eaLnBrk="1" latinLnBrk="0" hangingPunct="1">
        <a:defRPr sz="1800" kern="1200">
          <a:solidFill>
            <a:schemeClr val="tx1"/>
          </a:solidFill>
          <a:latin typeface="+mn-lt"/>
          <a:ea typeface="+mn-ea"/>
          <a:cs typeface="+mn-cs"/>
        </a:defRPr>
      </a:lvl6pPr>
      <a:lvl7pPr marL="2738813" algn="l" defTabSz="912937" rtl="0" eaLnBrk="1" latinLnBrk="0" hangingPunct="1">
        <a:defRPr sz="1800" kern="1200">
          <a:solidFill>
            <a:schemeClr val="tx1"/>
          </a:solidFill>
          <a:latin typeface="+mn-lt"/>
          <a:ea typeface="+mn-ea"/>
          <a:cs typeface="+mn-cs"/>
        </a:defRPr>
      </a:lvl7pPr>
      <a:lvl8pPr marL="3195285" algn="l" defTabSz="912937" rtl="0" eaLnBrk="1" latinLnBrk="0" hangingPunct="1">
        <a:defRPr sz="1800" kern="1200">
          <a:solidFill>
            <a:schemeClr val="tx1"/>
          </a:solidFill>
          <a:latin typeface="+mn-lt"/>
          <a:ea typeface="+mn-ea"/>
          <a:cs typeface="+mn-cs"/>
        </a:defRPr>
      </a:lvl8pPr>
      <a:lvl9pPr marL="3651750" algn="l" defTabSz="91293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7"/>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8" tIns="45639" rIns="91278" bIns="45639" numCol="1" anchor="ctr" anchorCtr="0" compatLnSpc="1">
            <a:prstTxWarp prst="textNoShape">
              <a:avLst/>
            </a:prstTxWarp>
          </a:bodyPr>
          <a:lstStyle/>
          <a:p>
            <a:pPr lvl="0"/>
            <a:r>
              <a:rPr lang="en-US" altLang="zh-CN" smtClean="0"/>
              <a:t>Click to edit Master title style</a:t>
            </a:r>
            <a:endParaRPr lang="en-ZA" altLang="zh-CN" smtClean="0"/>
          </a:p>
        </p:txBody>
      </p:sp>
      <p:sp>
        <p:nvSpPr>
          <p:cNvPr id="2051" name="Text Placeholder 8"/>
          <p:cNvSpPr>
            <a:spLocks noGrp="1"/>
          </p:cNvSpPr>
          <p:nvPr>
            <p:ph type="body" idx="1"/>
          </p:nvPr>
        </p:nvSpPr>
        <p:spPr bwMode="auto">
          <a:xfrm>
            <a:off x="457200" y="1600213"/>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8" tIns="45639" rIns="91278" bIns="45639"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ZA" altLang="zh-CN" smtClean="0"/>
          </a:p>
        </p:txBody>
      </p:sp>
    </p:spTree>
  </p:cSld>
  <p:clrMap bg1="lt1" tx1="dk1" bg2="lt2" tx2="dk2" accent1="accent1" accent2="accent2" accent3="accent3" accent4="accent4" accent5="accent5" accent6="accent6" hlink="hlink" folHlink="folHlink"/>
  <p:sldLayoutIdLst>
    <p:sldLayoutId id="2147493721" r:id="rId1"/>
    <p:sldLayoutId id="2147493722" r:id="rId2"/>
    <p:sldLayoutId id="2147493723" r:id="rId3"/>
    <p:sldLayoutId id="2147493724" r:id="rId4"/>
    <p:sldLayoutId id="2147493725" r:id="rId5"/>
    <p:sldLayoutId id="2147493726" r:id="rId6"/>
    <p:sldLayoutId id="2147493727" r:id="rId7"/>
    <p:sldLayoutId id="2147493728" r:id="rId8"/>
    <p:sldLayoutId id="2147493777" r:id="rId9"/>
    <p:sldLayoutId id="2147493778" r:id="rId10"/>
  </p:sldLayoutIdLst>
  <p:hf hdr="0" ftr="0" dt="0"/>
  <p:txStyles>
    <p:titleStyle>
      <a:lvl1pPr algn="ctr" defTabSz="911354" rtl="0" eaLnBrk="0" fontAlgn="base" hangingPunct="0">
        <a:spcBef>
          <a:spcPct val="0"/>
        </a:spcBef>
        <a:spcAft>
          <a:spcPct val="0"/>
        </a:spcAft>
        <a:defRPr sz="4400" kern="1200">
          <a:solidFill>
            <a:schemeClr val="tx1"/>
          </a:solidFill>
          <a:latin typeface="+mj-lt"/>
          <a:ea typeface="+mj-ea"/>
          <a:cs typeface="+mj-cs"/>
        </a:defRPr>
      </a:lvl1pPr>
      <a:lvl2pPr algn="ctr" defTabSz="911354" rtl="0" eaLnBrk="0" fontAlgn="base" hangingPunct="0">
        <a:spcBef>
          <a:spcPct val="0"/>
        </a:spcBef>
        <a:spcAft>
          <a:spcPct val="0"/>
        </a:spcAft>
        <a:defRPr sz="4400">
          <a:solidFill>
            <a:schemeClr val="tx1"/>
          </a:solidFill>
          <a:latin typeface="Verdana" pitchFamily="34" charset="0"/>
        </a:defRPr>
      </a:lvl2pPr>
      <a:lvl3pPr algn="ctr" defTabSz="911354" rtl="0" eaLnBrk="0" fontAlgn="base" hangingPunct="0">
        <a:spcBef>
          <a:spcPct val="0"/>
        </a:spcBef>
        <a:spcAft>
          <a:spcPct val="0"/>
        </a:spcAft>
        <a:defRPr sz="4400">
          <a:solidFill>
            <a:schemeClr val="tx1"/>
          </a:solidFill>
          <a:latin typeface="Verdana" pitchFamily="34" charset="0"/>
        </a:defRPr>
      </a:lvl3pPr>
      <a:lvl4pPr algn="ctr" defTabSz="911354" rtl="0" eaLnBrk="0" fontAlgn="base" hangingPunct="0">
        <a:spcBef>
          <a:spcPct val="0"/>
        </a:spcBef>
        <a:spcAft>
          <a:spcPct val="0"/>
        </a:spcAft>
        <a:defRPr sz="4400">
          <a:solidFill>
            <a:schemeClr val="tx1"/>
          </a:solidFill>
          <a:latin typeface="Verdana" pitchFamily="34" charset="0"/>
        </a:defRPr>
      </a:lvl4pPr>
      <a:lvl5pPr algn="ctr" defTabSz="911354" rtl="0" eaLnBrk="0" fontAlgn="base" hangingPunct="0">
        <a:spcBef>
          <a:spcPct val="0"/>
        </a:spcBef>
        <a:spcAft>
          <a:spcPct val="0"/>
        </a:spcAft>
        <a:defRPr sz="4400">
          <a:solidFill>
            <a:schemeClr val="tx1"/>
          </a:solidFill>
          <a:latin typeface="Verdana" pitchFamily="34" charset="0"/>
        </a:defRPr>
      </a:lvl5pPr>
      <a:lvl6pPr marL="456471" algn="ctr" defTabSz="911354" rtl="0" fontAlgn="base">
        <a:spcBef>
          <a:spcPct val="0"/>
        </a:spcBef>
        <a:spcAft>
          <a:spcPct val="0"/>
        </a:spcAft>
        <a:defRPr sz="4400">
          <a:solidFill>
            <a:schemeClr val="tx1"/>
          </a:solidFill>
          <a:latin typeface="Verdana" pitchFamily="34" charset="0"/>
        </a:defRPr>
      </a:lvl6pPr>
      <a:lvl7pPr marL="912937" algn="ctr" defTabSz="911354" rtl="0" fontAlgn="base">
        <a:spcBef>
          <a:spcPct val="0"/>
        </a:spcBef>
        <a:spcAft>
          <a:spcPct val="0"/>
        </a:spcAft>
        <a:defRPr sz="4400">
          <a:solidFill>
            <a:schemeClr val="tx1"/>
          </a:solidFill>
          <a:latin typeface="Verdana" pitchFamily="34" charset="0"/>
        </a:defRPr>
      </a:lvl7pPr>
      <a:lvl8pPr marL="1369410" algn="ctr" defTabSz="911354" rtl="0" fontAlgn="base">
        <a:spcBef>
          <a:spcPct val="0"/>
        </a:spcBef>
        <a:spcAft>
          <a:spcPct val="0"/>
        </a:spcAft>
        <a:defRPr sz="4400">
          <a:solidFill>
            <a:schemeClr val="tx1"/>
          </a:solidFill>
          <a:latin typeface="Verdana" pitchFamily="34" charset="0"/>
        </a:defRPr>
      </a:lvl8pPr>
      <a:lvl9pPr marL="1825875" algn="ctr" defTabSz="911354" rtl="0" fontAlgn="base">
        <a:spcBef>
          <a:spcPct val="0"/>
        </a:spcBef>
        <a:spcAft>
          <a:spcPct val="0"/>
        </a:spcAft>
        <a:defRPr sz="4400">
          <a:solidFill>
            <a:schemeClr val="tx1"/>
          </a:solidFill>
          <a:latin typeface="Verdana" pitchFamily="34" charset="0"/>
        </a:defRPr>
      </a:lvl9pPr>
    </p:titleStyle>
    <p:bodyStyle>
      <a:lvl1pPr marL="340767" indent="-340767" algn="l" defTabSz="911354"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0179" indent="-283708" algn="l" defTabSz="911354"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39590" indent="-226649" algn="l" defTabSz="911354"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6057" indent="-226649" algn="l" defTabSz="911354"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2525" indent="-226649" algn="l" defTabSz="911354"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0134" indent="-228196" algn="l" defTabSz="91277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525" indent="-228196" algn="l" defTabSz="91277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913" indent="-228196" algn="l" defTabSz="91277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300" indent="-228196" algn="l" defTabSz="91277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776" rtl="0" eaLnBrk="1" latinLnBrk="0" hangingPunct="1">
        <a:defRPr sz="1800" kern="1200">
          <a:solidFill>
            <a:schemeClr val="tx1"/>
          </a:solidFill>
          <a:latin typeface="+mn-lt"/>
          <a:ea typeface="+mn-ea"/>
          <a:cs typeface="+mn-cs"/>
        </a:defRPr>
      </a:lvl1pPr>
      <a:lvl2pPr marL="456389" algn="l" defTabSz="912776" rtl="0" eaLnBrk="1" latinLnBrk="0" hangingPunct="1">
        <a:defRPr sz="1800" kern="1200">
          <a:solidFill>
            <a:schemeClr val="tx1"/>
          </a:solidFill>
          <a:latin typeface="+mn-lt"/>
          <a:ea typeface="+mn-ea"/>
          <a:cs typeface="+mn-cs"/>
        </a:defRPr>
      </a:lvl2pPr>
      <a:lvl3pPr marL="912776" algn="l" defTabSz="912776" rtl="0" eaLnBrk="1" latinLnBrk="0" hangingPunct="1">
        <a:defRPr sz="1800" kern="1200">
          <a:solidFill>
            <a:schemeClr val="tx1"/>
          </a:solidFill>
          <a:latin typeface="+mn-lt"/>
          <a:ea typeface="+mn-ea"/>
          <a:cs typeface="+mn-cs"/>
        </a:defRPr>
      </a:lvl3pPr>
      <a:lvl4pPr marL="1369166" algn="l" defTabSz="912776" rtl="0" eaLnBrk="1" latinLnBrk="0" hangingPunct="1">
        <a:defRPr sz="1800" kern="1200">
          <a:solidFill>
            <a:schemeClr val="tx1"/>
          </a:solidFill>
          <a:latin typeface="+mn-lt"/>
          <a:ea typeface="+mn-ea"/>
          <a:cs typeface="+mn-cs"/>
        </a:defRPr>
      </a:lvl4pPr>
      <a:lvl5pPr marL="1825553" algn="l" defTabSz="912776" rtl="0" eaLnBrk="1" latinLnBrk="0" hangingPunct="1">
        <a:defRPr sz="1800" kern="1200">
          <a:solidFill>
            <a:schemeClr val="tx1"/>
          </a:solidFill>
          <a:latin typeface="+mn-lt"/>
          <a:ea typeface="+mn-ea"/>
          <a:cs typeface="+mn-cs"/>
        </a:defRPr>
      </a:lvl5pPr>
      <a:lvl6pPr marL="2281943" algn="l" defTabSz="912776" rtl="0" eaLnBrk="1" latinLnBrk="0" hangingPunct="1">
        <a:defRPr sz="1800" kern="1200">
          <a:solidFill>
            <a:schemeClr val="tx1"/>
          </a:solidFill>
          <a:latin typeface="+mn-lt"/>
          <a:ea typeface="+mn-ea"/>
          <a:cs typeface="+mn-cs"/>
        </a:defRPr>
      </a:lvl6pPr>
      <a:lvl7pPr marL="2738329" algn="l" defTabSz="912776" rtl="0" eaLnBrk="1" latinLnBrk="0" hangingPunct="1">
        <a:defRPr sz="1800" kern="1200">
          <a:solidFill>
            <a:schemeClr val="tx1"/>
          </a:solidFill>
          <a:latin typeface="+mn-lt"/>
          <a:ea typeface="+mn-ea"/>
          <a:cs typeface="+mn-cs"/>
        </a:defRPr>
      </a:lvl7pPr>
      <a:lvl8pPr marL="3194724" algn="l" defTabSz="912776" rtl="0" eaLnBrk="1" latinLnBrk="0" hangingPunct="1">
        <a:defRPr sz="1800" kern="1200">
          <a:solidFill>
            <a:schemeClr val="tx1"/>
          </a:solidFill>
          <a:latin typeface="+mn-lt"/>
          <a:ea typeface="+mn-ea"/>
          <a:cs typeface="+mn-cs"/>
        </a:defRPr>
      </a:lvl8pPr>
      <a:lvl9pPr marL="3651104" algn="l" defTabSz="91277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7"/>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12" tIns="45706" rIns="91412" bIns="45706" numCol="1" anchor="ctr" anchorCtr="0" compatLnSpc="1">
            <a:prstTxWarp prst="textNoShape">
              <a:avLst/>
            </a:prstTxWarp>
          </a:bodyPr>
          <a:lstStyle/>
          <a:p>
            <a:pPr lvl="0"/>
            <a:r>
              <a:rPr lang="en-US" altLang="zh-CN" smtClean="0"/>
              <a:t>Click to edit Master title style</a:t>
            </a:r>
            <a:endParaRPr lang="en-ZA" altLang="zh-CN" smtClean="0"/>
          </a:p>
        </p:txBody>
      </p:sp>
      <p:sp>
        <p:nvSpPr>
          <p:cNvPr id="3075" name="Text Placeholder 8"/>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12" tIns="45706" rIns="91412" bIns="45706"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ZA" altLang="zh-CN" smtClean="0"/>
          </a:p>
        </p:txBody>
      </p:sp>
    </p:spTree>
    <p:extLst>
      <p:ext uri="{BB962C8B-B14F-4D97-AF65-F5344CB8AC3E}">
        <p14:creationId xmlns:p14="http://schemas.microsoft.com/office/powerpoint/2010/main" val="4251970289"/>
      </p:ext>
    </p:extLst>
  </p:cSld>
  <p:clrMap bg1="lt1" tx1="dk1" bg2="lt2" tx2="dk2" accent1="accent1" accent2="accent2" accent3="accent3" accent4="accent4" accent5="accent5" accent6="accent6" hlink="hlink" folHlink="folHlink"/>
  <p:sldLayoutIdLst>
    <p:sldLayoutId id="2147493731" r:id="rId1"/>
    <p:sldLayoutId id="2147493732" r:id="rId2"/>
    <p:sldLayoutId id="2147493733" r:id="rId3"/>
    <p:sldLayoutId id="2147493734" r:id="rId4"/>
    <p:sldLayoutId id="2147493735" r:id="rId5"/>
    <p:sldLayoutId id="2147493736" r:id="rId6"/>
    <p:sldLayoutId id="2147493737" r:id="rId7"/>
    <p:sldLayoutId id="2147493738" r:id="rId8"/>
  </p:sldLayoutIdLst>
  <p:hf hdr="0" ftr="0" dt="0"/>
  <p:txStyles>
    <p:titleStyle>
      <a:lvl1pPr algn="ctr" defTabSz="911225" rtl="0" eaLnBrk="0" fontAlgn="base" hangingPunct="0">
        <a:spcBef>
          <a:spcPct val="0"/>
        </a:spcBef>
        <a:spcAft>
          <a:spcPct val="0"/>
        </a:spcAft>
        <a:defRPr sz="4400" kern="1200">
          <a:solidFill>
            <a:schemeClr val="tx1"/>
          </a:solidFill>
          <a:latin typeface="+mj-lt"/>
          <a:ea typeface="+mj-ea"/>
          <a:cs typeface="+mj-cs"/>
        </a:defRPr>
      </a:lvl1pPr>
      <a:lvl2pPr algn="ctr" defTabSz="911225" rtl="0" eaLnBrk="0" fontAlgn="base" hangingPunct="0">
        <a:spcBef>
          <a:spcPct val="0"/>
        </a:spcBef>
        <a:spcAft>
          <a:spcPct val="0"/>
        </a:spcAft>
        <a:defRPr sz="4400">
          <a:solidFill>
            <a:schemeClr val="tx1"/>
          </a:solidFill>
          <a:latin typeface="Verdana" pitchFamily="34" charset="0"/>
        </a:defRPr>
      </a:lvl2pPr>
      <a:lvl3pPr algn="ctr" defTabSz="911225" rtl="0" eaLnBrk="0" fontAlgn="base" hangingPunct="0">
        <a:spcBef>
          <a:spcPct val="0"/>
        </a:spcBef>
        <a:spcAft>
          <a:spcPct val="0"/>
        </a:spcAft>
        <a:defRPr sz="4400">
          <a:solidFill>
            <a:schemeClr val="tx1"/>
          </a:solidFill>
          <a:latin typeface="Verdana" pitchFamily="34" charset="0"/>
        </a:defRPr>
      </a:lvl3pPr>
      <a:lvl4pPr algn="ctr" defTabSz="911225" rtl="0" eaLnBrk="0" fontAlgn="base" hangingPunct="0">
        <a:spcBef>
          <a:spcPct val="0"/>
        </a:spcBef>
        <a:spcAft>
          <a:spcPct val="0"/>
        </a:spcAft>
        <a:defRPr sz="4400">
          <a:solidFill>
            <a:schemeClr val="tx1"/>
          </a:solidFill>
          <a:latin typeface="Verdana" pitchFamily="34" charset="0"/>
        </a:defRPr>
      </a:lvl4pPr>
      <a:lvl5pPr algn="ctr" defTabSz="911225" rtl="0" eaLnBrk="0" fontAlgn="base" hangingPunct="0">
        <a:spcBef>
          <a:spcPct val="0"/>
        </a:spcBef>
        <a:spcAft>
          <a:spcPct val="0"/>
        </a:spcAft>
        <a:defRPr sz="4400">
          <a:solidFill>
            <a:schemeClr val="tx1"/>
          </a:solidFill>
          <a:latin typeface="Verdana" pitchFamily="34" charset="0"/>
        </a:defRPr>
      </a:lvl5pPr>
      <a:lvl6pPr marL="457144" algn="ctr" defTabSz="912701" rtl="0" fontAlgn="base">
        <a:spcBef>
          <a:spcPct val="0"/>
        </a:spcBef>
        <a:spcAft>
          <a:spcPct val="0"/>
        </a:spcAft>
        <a:defRPr sz="4400">
          <a:solidFill>
            <a:schemeClr val="tx1"/>
          </a:solidFill>
          <a:latin typeface="Verdana" pitchFamily="34" charset="0"/>
        </a:defRPr>
      </a:lvl6pPr>
      <a:lvl7pPr marL="914287" algn="ctr" defTabSz="912701" rtl="0" fontAlgn="base">
        <a:spcBef>
          <a:spcPct val="0"/>
        </a:spcBef>
        <a:spcAft>
          <a:spcPct val="0"/>
        </a:spcAft>
        <a:defRPr sz="4400">
          <a:solidFill>
            <a:schemeClr val="tx1"/>
          </a:solidFill>
          <a:latin typeface="Verdana" pitchFamily="34" charset="0"/>
        </a:defRPr>
      </a:lvl7pPr>
      <a:lvl8pPr marL="1371431" algn="ctr" defTabSz="912701" rtl="0" fontAlgn="base">
        <a:spcBef>
          <a:spcPct val="0"/>
        </a:spcBef>
        <a:spcAft>
          <a:spcPct val="0"/>
        </a:spcAft>
        <a:defRPr sz="4400">
          <a:solidFill>
            <a:schemeClr val="tx1"/>
          </a:solidFill>
          <a:latin typeface="Verdana" pitchFamily="34" charset="0"/>
        </a:defRPr>
      </a:lvl8pPr>
      <a:lvl9pPr marL="1828575" algn="ctr" defTabSz="912701" rtl="0" fontAlgn="base">
        <a:spcBef>
          <a:spcPct val="0"/>
        </a:spcBef>
        <a:spcAft>
          <a:spcPct val="0"/>
        </a:spcAft>
        <a:defRPr sz="4400">
          <a:solidFill>
            <a:schemeClr val="tx1"/>
          </a:solidFill>
          <a:latin typeface="Verdana" pitchFamily="34" charset="0"/>
        </a:defRPr>
      </a:lvl9pPr>
    </p:titleStyle>
    <p:bodyStyle>
      <a:lvl1pPr marL="339725" indent="-339725" algn="l" defTabSz="911225"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39775" indent="-282575" algn="l" defTabSz="911225"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39825" indent="-225425" algn="l" defTabSz="911225"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7025" indent="-225425" algn="l" defTabSz="911225"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4225" indent="-225425" algn="l" defTabSz="911225"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3846"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09"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73"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36"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2"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9" algn="l" defTabSz="914126" rtl="0" eaLnBrk="1" latinLnBrk="0" hangingPunct="1">
        <a:defRPr sz="1800" kern="1200">
          <a:solidFill>
            <a:schemeClr val="tx1"/>
          </a:solidFill>
          <a:latin typeface="+mn-lt"/>
          <a:ea typeface="+mn-ea"/>
          <a:cs typeface="+mn-cs"/>
        </a:defRPr>
      </a:lvl4pPr>
      <a:lvl5pPr marL="1828252" algn="l" defTabSz="914126" rtl="0" eaLnBrk="1" latinLnBrk="0" hangingPunct="1">
        <a:defRPr sz="1800" kern="1200">
          <a:solidFill>
            <a:schemeClr val="tx1"/>
          </a:solidFill>
          <a:latin typeface="+mn-lt"/>
          <a:ea typeface="+mn-ea"/>
          <a:cs typeface="+mn-cs"/>
        </a:defRPr>
      </a:lvl5pPr>
      <a:lvl6pPr marL="2285315" algn="l" defTabSz="914126" rtl="0" eaLnBrk="1" latinLnBrk="0" hangingPunct="1">
        <a:defRPr sz="1800" kern="1200">
          <a:solidFill>
            <a:schemeClr val="tx1"/>
          </a:solidFill>
          <a:latin typeface="+mn-lt"/>
          <a:ea typeface="+mn-ea"/>
          <a:cs typeface="+mn-cs"/>
        </a:defRPr>
      </a:lvl6pPr>
      <a:lvl7pPr marL="2742378" algn="l" defTabSz="914126" rtl="0" eaLnBrk="1" latinLnBrk="0" hangingPunct="1">
        <a:defRPr sz="1800" kern="1200">
          <a:solidFill>
            <a:schemeClr val="tx1"/>
          </a:solidFill>
          <a:latin typeface="+mn-lt"/>
          <a:ea typeface="+mn-ea"/>
          <a:cs typeface="+mn-cs"/>
        </a:defRPr>
      </a:lvl7pPr>
      <a:lvl8pPr marL="3199441" algn="l" defTabSz="914126" rtl="0" eaLnBrk="1" latinLnBrk="0" hangingPunct="1">
        <a:defRPr sz="1800" kern="1200">
          <a:solidFill>
            <a:schemeClr val="tx1"/>
          </a:solidFill>
          <a:latin typeface="+mn-lt"/>
          <a:ea typeface="+mn-ea"/>
          <a:cs typeface="+mn-cs"/>
        </a:defRPr>
      </a:lvl8pPr>
      <a:lvl9pPr marL="3656504" algn="l" defTabSz="91412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3176" y="6098875"/>
            <a:ext cx="9140825" cy="759126"/>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0" y="-3996"/>
            <a:ext cx="9144000" cy="956098"/>
          </a:xfrm>
          <a:prstGeom prst="rect">
            <a:avLst/>
          </a:prstGeom>
        </p:spPr>
      </p:pic>
      <p:graphicFrame>
        <p:nvGraphicFramePr>
          <p:cNvPr id="19" name="Object 18" hidden="1"/>
          <p:cNvGraphicFramePr>
            <a:graphicFrameLocks noChangeAspect="1"/>
          </p:cNvGraphicFramePr>
          <p:nvPr>
            <p:custDataLst>
              <p:tags r:id="rId6"/>
            </p:custDataLst>
            <p:extLst/>
          </p:nvPr>
        </p:nvGraphicFramePr>
        <p:xfrm>
          <a:off x="1613" y="1594"/>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13"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693260" y="99638"/>
            <a:ext cx="7199915" cy="756000"/>
          </a:xfrm>
          <a:prstGeom prst="rect">
            <a:avLst/>
          </a:prstGeom>
        </p:spPr>
        <p:txBody>
          <a:bodyPr vert="horz" lIns="0" tIns="0" rIns="0" bIns="0" rtlCol="0" anchor="ctr" anchorCtr="0">
            <a:noAutofit/>
          </a:bodyPr>
          <a:lstStyle/>
          <a:p>
            <a:pPr lvl="0"/>
            <a:r>
              <a:rPr lang="en-US" dirty="0" smtClean="0"/>
              <a:t>Click to insert slide title (maximum 2 lines)</a:t>
            </a:r>
            <a:endParaRPr lang="en-US" dirty="0"/>
          </a:p>
        </p:txBody>
      </p:sp>
      <p:sp>
        <p:nvSpPr>
          <p:cNvPr id="3" name="Text Placeholder 2"/>
          <p:cNvSpPr>
            <a:spLocks noGrp="1"/>
          </p:cNvSpPr>
          <p:nvPr>
            <p:ph type="body" idx="1"/>
          </p:nvPr>
        </p:nvSpPr>
        <p:spPr>
          <a:xfrm>
            <a:off x="693278" y="1265461"/>
            <a:ext cx="7750175" cy="4651155"/>
          </a:xfrm>
          <a:prstGeom prst="rect">
            <a:avLst/>
          </a:prstGeom>
        </p:spPr>
        <p:txBody>
          <a:bodyPr vert="horz" lIns="0" tIns="0" rIns="0" bIns="0" rtlCol="0">
            <a:noAutofit/>
          </a:bodyPr>
          <a:lstStyle/>
          <a:p>
            <a:pPr lvl="0"/>
            <a:r>
              <a:rPr lang="en-US" dirty="0" smtClean="0"/>
              <a:t>Click to insert level one body text</a:t>
            </a:r>
          </a:p>
          <a:p>
            <a:pPr lvl="1"/>
            <a:r>
              <a:rPr lang="en-US" dirty="0" smtClean="0"/>
              <a:t>Second level</a:t>
            </a:r>
          </a:p>
          <a:p>
            <a:pPr lvl="2"/>
            <a:r>
              <a:rPr lang="en-US" dirty="0" smtClean="0"/>
              <a:t>Third level</a:t>
            </a:r>
          </a:p>
          <a:p>
            <a:pPr lvl="3"/>
            <a:r>
              <a:rPr lang="en-US" dirty="0" smtClean="0"/>
              <a:t>Fourth level</a:t>
            </a:r>
            <a:endParaRPr lang="en-US" dirty="0"/>
          </a:p>
        </p:txBody>
      </p:sp>
      <p:sp>
        <p:nvSpPr>
          <p:cNvPr id="9" name="TextBox 8"/>
          <p:cNvSpPr txBox="1"/>
          <p:nvPr/>
        </p:nvSpPr>
        <p:spPr>
          <a:xfrm>
            <a:off x="8215857" y="6575523"/>
            <a:ext cx="249382" cy="107722"/>
          </a:xfrm>
          <a:prstGeom prst="rect">
            <a:avLst/>
          </a:prstGeom>
          <a:noFill/>
        </p:spPr>
        <p:txBody>
          <a:bodyPr wrap="square" lIns="0" tIns="0" rIns="0" bIns="0" rtlCol="0">
            <a:noAutofit/>
          </a:bodyPr>
          <a:lstStyle>
            <a:defPPr>
              <a:defRPr lang="en-US"/>
            </a:defPPr>
            <a:lvl1pPr>
              <a:defRPr sz="700">
                <a:solidFill>
                  <a:srgbClr val="95D8DB"/>
                </a:solidFill>
                <a:effectLst/>
              </a:defRPr>
            </a:lvl1pPr>
          </a:lstStyle>
          <a:p>
            <a:pPr algn="r" fontAlgn="auto">
              <a:spcBef>
                <a:spcPts val="0"/>
              </a:spcBef>
              <a:spcAft>
                <a:spcPts val="0"/>
              </a:spcAft>
            </a:pPr>
            <a:fld id="{3AD70FBD-5510-400F-86FC-486313CF9C36}" type="slidenum">
              <a:rPr lang="en-GB" sz="563" smtClean="0">
                <a:solidFill>
                  <a:srgbClr val="7B7B77"/>
                </a:solidFill>
                <a:latin typeface="Arial"/>
              </a:rPr>
              <a:pPr algn="r" fontAlgn="auto">
                <a:spcBef>
                  <a:spcPts val="0"/>
                </a:spcBef>
                <a:spcAft>
                  <a:spcPts val="0"/>
                </a:spcAft>
              </a:pPr>
              <a:t>‹#›</a:t>
            </a:fld>
            <a:endParaRPr lang="en-GB" sz="563" dirty="0" smtClean="0">
              <a:solidFill>
                <a:srgbClr val="7B7B77"/>
              </a:solidFill>
              <a:latin typeface="Arial"/>
            </a:endParaRPr>
          </a:p>
        </p:txBody>
      </p:sp>
      <p:sp>
        <p:nvSpPr>
          <p:cNvPr id="10" name="TextBox 9"/>
          <p:cNvSpPr txBox="1"/>
          <p:nvPr/>
        </p:nvSpPr>
        <p:spPr>
          <a:xfrm>
            <a:off x="701880" y="6575523"/>
            <a:ext cx="6374628" cy="107722"/>
          </a:xfrm>
          <a:prstGeom prst="rect">
            <a:avLst/>
          </a:prstGeom>
          <a:noFill/>
        </p:spPr>
        <p:txBody>
          <a:bodyPr wrap="square" lIns="0" tIns="0" rIns="0" bIns="0" rtlCol="0">
            <a:noAutofit/>
          </a:bodyPr>
          <a:lstStyle/>
          <a:p>
            <a:pPr fontAlgn="auto">
              <a:spcBef>
                <a:spcPts val="0"/>
              </a:spcBef>
              <a:spcAft>
                <a:spcPts val="0"/>
              </a:spcAft>
            </a:pPr>
            <a:r>
              <a:rPr lang="en-ZA" sz="525" dirty="0">
                <a:solidFill>
                  <a:srgbClr val="7B7B77"/>
                </a:solidFill>
                <a:latin typeface="Arial"/>
              </a:rPr>
              <a:t>Copyright© 2013 Mobile Telephone Networks. All rights reserved</a:t>
            </a:r>
            <a:endParaRPr lang="en-GB" sz="525" dirty="0">
              <a:solidFill>
                <a:srgbClr val="7B7B77"/>
              </a:solidFill>
              <a:latin typeface="Arial"/>
            </a:endParaRPr>
          </a:p>
        </p:txBody>
      </p:sp>
    </p:spTree>
    <p:extLst>
      <p:ext uri="{BB962C8B-B14F-4D97-AF65-F5344CB8AC3E}">
        <p14:creationId xmlns:p14="http://schemas.microsoft.com/office/powerpoint/2010/main" val="2501379050"/>
      </p:ext>
    </p:extLst>
  </p:cSld>
  <p:clrMap bg1="lt1" tx1="dk1" bg2="lt2" tx2="dk2" accent1="accent1" accent2="accent2" accent3="accent3" accent4="accent4" accent5="accent5" accent6="accent6" hlink="hlink" folHlink="folHlink"/>
  <p:sldLayoutIdLst>
    <p:sldLayoutId id="2147493749" r:id="rId1"/>
    <p:sldLayoutId id="2147493750" r:id="rId2"/>
    <p:sldLayoutId id="2147493751" r:id="rId3"/>
  </p:sldLayoutIdLst>
  <p:timing>
    <p:tnLst>
      <p:par>
        <p:cTn id="1" dur="indefinite" restart="never" nodeType="tmRoot"/>
      </p:par>
    </p:tnLst>
  </p:timing>
  <p:txStyles>
    <p:titleStyle>
      <a:lvl1pPr algn="l" defTabSz="342900" rtl="0" eaLnBrk="1" latinLnBrk="0" hangingPunct="1">
        <a:lnSpc>
          <a:spcPct val="90000"/>
        </a:lnSpc>
        <a:spcBef>
          <a:spcPct val="0"/>
        </a:spcBef>
        <a:buNone/>
        <a:defRPr lang="en-US" sz="1725" b="1" i="1" kern="1200" baseline="0" dirty="0">
          <a:solidFill>
            <a:schemeClr val="accent4"/>
          </a:solidFill>
          <a:latin typeface="+mn-lt"/>
          <a:ea typeface="+mj-ea"/>
          <a:cs typeface="Calibri"/>
        </a:defRPr>
      </a:lvl1pPr>
    </p:titleStyle>
    <p:bodyStyle>
      <a:lvl1pPr marL="0" indent="0" algn="l" defTabSz="342900" rtl="0" eaLnBrk="1" latinLnBrk="0" hangingPunct="1">
        <a:spcBef>
          <a:spcPts val="225"/>
        </a:spcBef>
        <a:spcAft>
          <a:spcPts val="225"/>
        </a:spcAft>
        <a:buClr>
          <a:srgbClr val="FF0000"/>
        </a:buClr>
        <a:buFont typeface="Wingdings" charset="2"/>
        <a:buNone/>
        <a:defRPr sz="1350" kern="1200">
          <a:solidFill>
            <a:schemeClr val="tx1"/>
          </a:solidFill>
          <a:latin typeface="+mj-lt"/>
          <a:ea typeface="+mn-ea"/>
          <a:cs typeface="Calibri"/>
        </a:defRPr>
      </a:lvl1pPr>
      <a:lvl2pPr marL="116681" indent="-116681" algn="l" defTabSz="342900" rtl="0" eaLnBrk="1" latinLnBrk="0" hangingPunct="1">
        <a:spcBef>
          <a:spcPts val="225"/>
        </a:spcBef>
        <a:spcAft>
          <a:spcPts val="225"/>
        </a:spcAft>
        <a:buClr>
          <a:schemeClr val="tx1"/>
        </a:buClr>
        <a:buFont typeface="Arial" pitchFamily="34" charset="0"/>
        <a:buChar char="•"/>
        <a:defRPr sz="1350" kern="1200">
          <a:solidFill>
            <a:schemeClr val="tx1"/>
          </a:solidFill>
          <a:latin typeface="+mj-lt"/>
          <a:ea typeface="+mn-ea"/>
          <a:cs typeface="Calibri"/>
        </a:defRPr>
      </a:lvl2pPr>
      <a:lvl3pPr marL="271463" indent="-135731" algn="l" defTabSz="342900" rtl="0" eaLnBrk="1" latinLnBrk="0" hangingPunct="1">
        <a:spcBef>
          <a:spcPts val="225"/>
        </a:spcBef>
        <a:spcAft>
          <a:spcPts val="225"/>
        </a:spcAft>
        <a:buClr>
          <a:schemeClr val="tx1"/>
        </a:buClr>
        <a:buFont typeface="Arial" pitchFamily="34" charset="0"/>
        <a:buChar char="–"/>
        <a:defRPr sz="1350" kern="1200">
          <a:solidFill>
            <a:schemeClr val="tx1"/>
          </a:solidFill>
          <a:latin typeface="+mj-lt"/>
          <a:ea typeface="+mn-ea"/>
          <a:cs typeface="Calibri"/>
        </a:defRPr>
      </a:lvl3pPr>
      <a:lvl4pPr marL="401241" indent="-129779" algn="l" defTabSz="342900" rtl="0" eaLnBrk="1" latinLnBrk="0" hangingPunct="1">
        <a:spcBef>
          <a:spcPts val="225"/>
        </a:spcBef>
        <a:spcAft>
          <a:spcPts val="225"/>
        </a:spcAft>
        <a:buClr>
          <a:schemeClr val="tx1"/>
        </a:buClr>
        <a:buFont typeface="Wingdings" charset="2"/>
        <a:buChar char="§"/>
        <a:defRPr sz="1350" kern="1200">
          <a:solidFill>
            <a:schemeClr val="tx1"/>
          </a:solidFill>
          <a:latin typeface="+mj-lt"/>
          <a:ea typeface="+mn-ea"/>
          <a:cs typeface="Calibri"/>
        </a:defRPr>
      </a:lvl4pPr>
      <a:lvl5pPr marL="373856" indent="-107156" algn="l" defTabSz="342900" rtl="0" eaLnBrk="1" latinLnBrk="0" hangingPunct="1">
        <a:spcBef>
          <a:spcPts val="225"/>
        </a:spcBef>
        <a:spcAft>
          <a:spcPts val="225"/>
        </a:spcAft>
        <a:buClr>
          <a:schemeClr val="tx1"/>
        </a:buClr>
        <a:buFont typeface="Courier New" pitchFamily="49" charset="0"/>
        <a:buChar char="o"/>
        <a:tabLst/>
        <a:defRPr sz="900" kern="1200">
          <a:solidFill>
            <a:srgbClr val="404F3C"/>
          </a:solidFill>
          <a:latin typeface="+mj-lt"/>
          <a:ea typeface="+mn-ea"/>
          <a:cs typeface="Calibri"/>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chart" Target="../charts/chart14.xml"/><Relationship Id="rId2" Type="http://schemas.openxmlformats.org/officeDocument/2006/relationships/slideLayout" Target="../slideLayouts/slideLayout21.xml"/><Relationship Id="rId1" Type="http://schemas.openxmlformats.org/officeDocument/2006/relationships/vmlDrawing" Target="../drawings/vmlDrawing2.vml"/><Relationship Id="rId6" Type="http://schemas.openxmlformats.org/officeDocument/2006/relationships/chart" Target="../charts/chart13.xml"/><Relationship Id="rId5" Type="http://schemas.openxmlformats.org/officeDocument/2006/relationships/image" Target="../media/image11.wmf"/><Relationship Id="rId4" Type="http://schemas.openxmlformats.org/officeDocument/2006/relationships/oleObject" Target="../embeddings/Microsoft_Excel_97-2003_Worksheet1.xls"/></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1.xml"/><Relationship Id="rId4" Type="http://schemas.openxmlformats.org/officeDocument/2006/relationships/chart" Target="../charts/char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1.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1.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1.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ctrTitle"/>
          </p:nvPr>
        </p:nvSpPr>
        <p:spPr>
          <a:xfrm>
            <a:off x="990601" y="4724400"/>
            <a:ext cx="6553200" cy="1524000"/>
          </a:xfrm>
        </p:spPr>
        <p:txBody>
          <a:bodyPr/>
          <a:lstStyle/>
          <a:p>
            <a:pPr algn="ctr" eaLnBrk="1" hangingPunct="1"/>
            <a:r>
              <a:rPr lang="en-US" altLang="zh-CN" sz="1800" dirty="0" smtClean="0">
                <a:solidFill>
                  <a:schemeClr val="tx1"/>
                </a:solidFill>
                <a:latin typeface="+mn-lt"/>
                <a:ea typeface="Arial Unicode MS" pitchFamily="34" charset="-128"/>
                <a:cs typeface="Arial" pitchFamily="34" charset="0"/>
              </a:rPr>
              <a:t>MTN ZAMBIA NETWORK PERFORMANCE QOS </a:t>
            </a:r>
            <a:br>
              <a:rPr lang="en-US" altLang="zh-CN" sz="1800" dirty="0" smtClean="0">
                <a:solidFill>
                  <a:schemeClr val="tx1"/>
                </a:solidFill>
                <a:latin typeface="+mn-lt"/>
                <a:ea typeface="Arial Unicode MS" pitchFamily="34" charset="-128"/>
                <a:cs typeface="Arial" pitchFamily="34" charset="0"/>
              </a:rPr>
            </a:br>
            <a:r>
              <a:rPr lang="en-US" altLang="zh-CN" sz="1800" dirty="0" smtClean="0">
                <a:solidFill>
                  <a:schemeClr val="tx1"/>
                </a:solidFill>
                <a:latin typeface="+mn-lt"/>
                <a:ea typeface="Arial Unicode MS" pitchFamily="34" charset="-128"/>
                <a:cs typeface="Arial" pitchFamily="34" charset="0"/>
              </a:rPr>
              <a:t>Presentation</a:t>
            </a:r>
            <a:r>
              <a:rPr lang="en-US" altLang="zh-CN" sz="2000" dirty="0" smtClean="0">
                <a:solidFill>
                  <a:schemeClr val="tx1"/>
                </a:solidFill>
                <a:latin typeface="+mn-lt"/>
                <a:ea typeface="Arial Unicode MS" pitchFamily="34" charset="-128"/>
                <a:cs typeface="Arial" pitchFamily="34" charset="0"/>
              </a:rPr>
              <a:t/>
            </a:r>
            <a:br>
              <a:rPr lang="en-US" altLang="zh-CN" sz="2000" dirty="0" smtClean="0">
                <a:solidFill>
                  <a:schemeClr val="tx1"/>
                </a:solidFill>
                <a:latin typeface="+mn-lt"/>
                <a:ea typeface="Arial Unicode MS" pitchFamily="34" charset="-128"/>
                <a:cs typeface="Arial" pitchFamily="34" charset="0"/>
              </a:rPr>
            </a:br>
            <a:r>
              <a:rPr lang="en-US" altLang="zh-CN" sz="2000" dirty="0" smtClean="0">
                <a:solidFill>
                  <a:schemeClr val="tx1"/>
                </a:solidFill>
                <a:latin typeface="Arial" pitchFamily="34" charset="0"/>
                <a:ea typeface="Arial Unicode MS" pitchFamily="34" charset="-128"/>
                <a:cs typeface="Arial" pitchFamily="34" charset="0"/>
              </a:rPr>
              <a:t/>
            </a:r>
            <a:br>
              <a:rPr lang="en-US" altLang="zh-CN" sz="2000" dirty="0" smtClean="0">
                <a:solidFill>
                  <a:schemeClr val="tx1"/>
                </a:solidFill>
                <a:latin typeface="Arial" pitchFamily="34" charset="0"/>
                <a:ea typeface="Arial Unicode MS" pitchFamily="34" charset="-128"/>
                <a:cs typeface="Arial" pitchFamily="34" charset="0"/>
              </a:rPr>
            </a:br>
            <a:endParaRPr lang="en-US" altLang="zh-CN" sz="2000" b="0" dirty="0" smtClean="0">
              <a:latin typeface="Arial" pitchFamily="34" charset="0"/>
              <a:ea typeface="Arial Unicode MS" pitchFamily="34" charset="-128"/>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altLang="zh-CN" sz="2586" b="1" dirty="0">
                <a:solidFill>
                  <a:schemeClr val="bg1"/>
                </a:solidFill>
                <a:effectLst>
                  <a:outerShdw blurRad="38100" dist="38100" dir="2700000" algn="tl">
                    <a:srgbClr val="000000">
                      <a:alpha val="43137"/>
                    </a:srgbClr>
                  </a:outerShdw>
                </a:effectLst>
              </a:rPr>
              <a:t>2G&amp;3G HANDOVER SUCCESS RATE</a:t>
            </a:r>
            <a:endParaRPr lang="en-ZA" sz="2586" b="1" dirty="0">
              <a:solidFill>
                <a:schemeClr val="bg1"/>
              </a:solidFill>
              <a:effectLst>
                <a:outerShdw blurRad="38100" dist="38100" dir="2700000" algn="tl">
                  <a:srgbClr val="000000">
                    <a:alpha val="43137"/>
                  </a:srgbClr>
                </a:outerShdw>
              </a:effectLst>
            </a:endParaRPr>
          </a:p>
        </p:txBody>
      </p:sp>
      <p:sp>
        <p:nvSpPr>
          <p:cNvPr id="5" name="TextBox 4"/>
          <p:cNvSpPr txBox="1"/>
          <p:nvPr/>
        </p:nvSpPr>
        <p:spPr>
          <a:xfrm>
            <a:off x="6301023" y="901835"/>
            <a:ext cx="2593535" cy="2753426"/>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2G handover success rate  had the least improvement in Ndola due to the city’s topology. Optimization will continues using the collected DT samples and OSS based KPIs. </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Livingstone HOSR improved with the new site</a:t>
            </a:r>
            <a:r>
              <a:rPr lang="en-US" altLang="zh-CN" sz="1293" dirty="0">
                <a:solidFill>
                  <a:srgbClr val="000000"/>
                </a:solidFill>
                <a:ea typeface="宋体"/>
                <a:cs typeface="Calibri" pitchFamily="34" charset="0"/>
              </a:rPr>
              <a:t>. </a:t>
            </a:r>
          </a:p>
        </p:txBody>
      </p:sp>
      <p:sp>
        <p:nvSpPr>
          <p:cNvPr id="6" name="TextBox 5"/>
          <p:cNvSpPr txBox="1"/>
          <p:nvPr/>
        </p:nvSpPr>
        <p:spPr>
          <a:xfrm>
            <a:off x="6434025" y="3612193"/>
            <a:ext cx="2460533" cy="1857988"/>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3G handover success rate was 100% in all major towns. </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Ndola and Kitwe were optimized to get further improvement.</a:t>
            </a:r>
          </a:p>
        </p:txBody>
      </p:sp>
      <p:graphicFrame>
        <p:nvGraphicFramePr>
          <p:cNvPr id="9" name="图表 5"/>
          <p:cNvGraphicFramePr/>
          <p:nvPr/>
        </p:nvGraphicFramePr>
        <p:xfrm>
          <a:off x="249443" y="835466"/>
          <a:ext cx="5852079" cy="27930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5"/>
          <p:cNvGraphicFramePr/>
          <p:nvPr/>
        </p:nvGraphicFramePr>
        <p:xfrm>
          <a:off x="249443" y="3695004"/>
          <a:ext cx="5852079" cy="27265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8761414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2G CALL DROP &amp; 3G THROUGHPUT</a:t>
            </a:r>
          </a:p>
        </p:txBody>
      </p:sp>
      <p:sp>
        <p:nvSpPr>
          <p:cNvPr id="5" name="TextBox 4"/>
          <p:cNvSpPr txBox="1"/>
          <p:nvPr/>
        </p:nvSpPr>
        <p:spPr>
          <a:xfrm>
            <a:off x="6367524" y="1117592"/>
            <a:ext cx="2460533" cy="2156468"/>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2G call drop rate was optimized in Lusaka, Ndola and </a:t>
            </a:r>
            <a:r>
              <a:rPr lang="en-US" altLang="zh-CN" sz="1293" dirty="0" err="1">
                <a:solidFill>
                  <a:srgbClr val="000000"/>
                </a:solidFill>
                <a:latin typeface="+mn-lt"/>
                <a:ea typeface="宋体"/>
                <a:cs typeface="Calibri" pitchFamily="34" charset="0"/>
              </a:rPr>
              <a:t>Chingola</a:t>
            </a:r>
            <a:r>
              <a:rPr lang="en-US" altLang="zh-CN" sz="1293" dirty="0">
                <a:solidFill>
                  <a:srgbClr val="000000"/>
                </a:solidFill>
                <a:latin typeface="+mn-lt"/>
                <a:ea typeface="宋体"/>
                <a:cs typeface="Calibri" pitchFamily="34" charset="0"/>
              </a:rPr>
              <a:t> to less than 1%. This was a direct consequence of the Frequency Optimization and other RF works</a:t>
            </a:r>
            <a:r>
              <a:rPr lang="en-US" altLang="zh-CN" sz="1293" dirty="0" smtClean="0">
                <a:solidFill>
                  <a:srgbClr val="000000"/>
                </a:solidFill>
                <a:latin typeface="+mn-lt"/>
                <a:ea typeface="宋体"/>
                <a:cs typeface="Calibri" pitchFamily="34" charset="0"/>
              </a:rPr>
              <a:t>.</a:t>
            </a:r>
            <a:endParaRPr lang="en-US" altLang="zh-CN" sz="1293" dirty="0">
              <a:solidFill>
                <a:srgbClr val="000000"/>
              </a:solidFill>
              <a:latin typeface="+mn-lt"/>
              <a:ea typeface="宋体"/>
              <a:cs typeface="Calibri" pitchFamily="34" charset="0"/>
            </a:endParaRPr>
          </a:p>
        </p:txBody>
      </p:sp>
      <p:sp>
        <p:nvSpPr>
          <p:cNvPr id="6" name="TextBox 5"/>
          <p:cNvSpPr txBox="1"/>
          <p:nvPr/>
        </p:nvSpPr>
        <p:spPr>
          <a:xfrm>
            <a:off x="6500526" y="4068023"/>
            <a:ext cx="2460533" cy="962551"/>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3G call drop rate was excellent, at 0% in all the </a:t>
            </a:r>
            <a:r>
              <a:rPr lang="en-US" altLang="zh-CN" sz="1293" dirty="0" smtClean="0">
                <a:solidFill>
                  <a:srgbClr val="000000"/>
                </a:solidFill>
                <a:latin typeface="+mn-lt"/>
                <a:ea typeface="宋体"/>
                <a:cs typeface="Calibri" pitchFamily="34" charset="0"/>
              </a:rPr>
              <a:t>towns after optimization.</a:t>
            </a:r>
            <a:endParaRPr lang="en-US" altLang="zh-CN" sz="1293" dirty="0">
              <a:solidFill>
                <a:srgbClr val="000000"/>
              </a:solidFill>
              <a:latin typeface="+mn-lt"/>
              <a:ea typeface="宋体"/>
              <a:cs typeface="Calibri" pitchFamily="34" charset="0"/>
            </a:endParaRPr>
          </a:p>
        </p:txBody>
      </p:sp>
      <p:graphicFrame>
        <p:nvGraphicFramePr>
          <p:cNvPr id="10" name="图表 5"/>
          <p:cNvGraphicFramePr/>
          <p:nvPr/>
        </p:nvGraphicFramePr>
        <p:xfrm>
          <a:off x="182942" y="901966"/>
          <a:ext cx="5918580" cy="27930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5"/>
          <p:cNvGraphicFramePr/>
          <p:nvPr/>
        </p:nvGraphicFramePr>
        <p:xfrm>
          <a:off x="182942" y="3761505"/>
          <a:ext cx="5918579" cy="26600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0659329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2G CALL DROP &amp; 3G THROUGHPUT</a:t>
            </a:r>
          </a:p>
        </p:txBody>
      </p:sp>
      <p:sp>
        <p:nvSpPr>
          <p:cNvPr id="5" name="TextBox 4"/>
          <p:cNvSpPr txBox="1"/>
          <p:nvPr/>
        </p:nvSpPr>
        <p:spPr>
          <a:xfrm>
            <a:off x="6301023" y="968409"/>
            <a:ext cx="2593535" cy="1261030"/>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inter RAT HO from 3G to 2G  measured 100% in the towns </a:t>
            </a:r>
            <a:r>
              <a:rPr lang="en-US" altLang="zh-CN" sz="1293" dirty="0" smtClean="0">
                <a:solidFill>
                  <a:srgbClr val="000000"/>
                </a:solidFill>
                <a:latin typeface="+mn-lt"/>
                <a:ea typeface="宋体"/>
                <a:cs typeface="Calibri" pitchFamily="34" charset="0"/>
              </a:rPr>
              <a:t>tested after optimization.  </a:t>
            </a:r>
            <a:endParaRPr lang="en-US" altLang="zh-CN" sz="1293" dirty="0">
              <a:solidFill>
                <a:srgbClr val="000000"/>
              </a:solidFill>
              <a:latin typeface="+mn-lt"/>
              <a:ea typeface="宋体"/>
              <a:cs typeface="Calibri" pitchFamily="34" charset="0"/>
            </a:endParaRPr>
          </a:p>
        </p:txBody>
      </p:sp>
      <p:sp>
        <p:nvSpPr>
          <p:cNvPr id="6" name="TextBox 5"/>
          <p:cNvSpPr txBox="1"/>
          <p:nvPr/>
        </p:nvSpPr>
        <p:spPr>
          <a:xfrm>
            <a:off x="6101521" y="3291440"/>
            <a:ext cx="2859538" cy="3350384"/>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3G throughputs KPI (HSDPA throughput &gt; 1Mbps) were improved mostly in Ndola, and </a:t>
            </a:r>
            <a:r>
              <a:rPr lang="en-US" altLang="zh-CN" sz="1293" dirty="0" err="1">
                <a:solidFill>
                  <a:srgbClr val="000000"/>
                </a:solidFill>
                <a:latin typeface="+mn-lt"/>
                <a:ea typeface="宋体"/>
                <a:cs typeface="Calibri" pitchFamily="34" charset="0"/>
              </a:rPr>
              <a:t>Solwezi</a:t>
            </a:r>
            <a:r>
              <a:rPr lang="en-US" altLang="zh-CN" sz="1293" dirty="0">
                <a:solidFill>
                  <a:srgbClr val="000000"/>
                </a:solidFill>
                <a:latin typeface="+mn-lt"/>
                <a:ea typeface="宋体"/>
                <a:cs typeface="Calibri" pitchFamily="34" charset="0"/>
              </a:rPr>
              <a:t>.</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average speeds for all the towns is approx 6133kbps with highest recorded speeds in </a:t>
            </a:r>
            <a:r>
              <a:rPr lang="en-US" altLang="zh-CN" sz="1293" dirty="0" err="1">
                <a:solidFill>
                  <a:srgbClr val="000000"/>
                </a:solidFill>
                <a:latin typeface="+mn-lt"/>
                <a:ea typeface="宋体"/>
                <a:cs typeface="Calibri" pitchFamily="34" charset="0"/>
              </a:rPr>
              <a:t>Luanshya</a:t>
            </a:r>
            <a:r>
              <a:rPr lang="en-US" altLang="zh-CN" sz="1293" dirty="0">
                <a:solidFill>
                  <a:srgbClr val="000000"/>
                </a:solidFill>
                <a:latin typeface="+mn-lt"/>
                <a:ea typeface="宋体"/>
                <a:cs typeface="Calibri" pitchFamily="34" charset="0"/>
              </a:rPr>
              <a:t>, </a:t>
            </a:r>
            <a:r>
              <a:rPr lang="en-US" altLang="zh-CN" sz="1293" dirty="0" err="1">
                <a:solidFill>
                  <a:srgbClr val="000000"/>
                </a:solidFill>
                <a:latin typeface="+mn-lt"/>
                <a:ea typeface="宋体"/>
                <a:cs typeface="Calibri" pitchFamily="34" charset="0"/>
              </a:rPr>
              <a:t>Kabwe</a:t>
            </a:r>
            <a:r>
              <a:rPr lang="en-US" altLang="zh-CN" sz="1293" dirty="0">
                <a:solidFill>
                  <a:srgbClr val="000000"/>
                </a:solidFill>
                <a:latin typeface="+mn-lt"/>
                <a:ea typeface="宋体"/>
                <a:cs typeface="Calibri" pitchFamily="34" charset="0"/>
              </a:rPr>
              <a:t> and Livingstone.</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Attached are measured hotspot speeds for Lusaka</a:t>
            </a:r>
            <a:r>
              <a:rPr lang="en-US" altLang="zh-CN" sz="1293" dirty="0">
                <a:solidFill>
                  <a:srgbClr val="000000"/>
                </a:solidFill>
                <a:ea typeface="宋体"/>
                <a:cs typeface="Calibri" pitchFamily="34" charset="0"/>
              </a:rPr>
              <a:t>.</a:t>
            </a:r>
          </a:p>
        </p:txBody>
      </p:sp>
      <p:graphicFrame>
        <p:nvGraphicFramePr>
          <p:cNvPr id="12" name="Object 11"/>
          <p:cNvGraphicFramePr>
            <a:graphicFrameLocks noChangeAspect="1"/>
          </p:cNvGraphicFramePr>
          <p:nvPr>
            <p:extLst>
              <p:ext uri="{D42A27DB-BD31-4B8C-83A1-F6EECF244321}">
                <p14:modId xmlns:p14="http://schemas.microsoft.com/office/powerpoint/2010/main" val="3561381484"/>
              </p:ext>
            </p:extLst>
          </p:nvPr>
        </p:nvGraphicFramePr>
        <p:xfrm>
          <a:off x="7963545" y="2630990"/>
          <a:ext cx="844468" cy="712519"/>
        </p:xfrm>
        <a:graphic>
          <a:graphicData uri="http://schemas.openxmlformats.org/presentationml/2006/ole">
            <mc:AlternateContent xmlns:mc="http://schemas.openxmlformats.org/markup-compatibility/2006">
              <mc:Choice xmlns:v="urn:schemas-microsoft-com:vml" Requires="v">
                <p:oleObj spid="_x0000_s6159" name="Worksheet" showAsIcon="1" r:id="rId4" imgW="914400" imgH="771480" progId="Excel.Sheet.8">
                  <p:embed/>
                </p:oleObj>
              </mc:Choice>
              <mc:Fallback>
                <p:oleObj name="Worksheet" showAsIcon="1" r:id="rId4" imgW="914400" imgH="771480" progId="Excel.Sheet.8">
                  <p:embed/>
                  <p:pic>
                    <p:nvPicPr>
                      <p:cNvPr id="0" name=""/>
                      <p:cNvPicPr>
                        <a:picLocks noChangeAspect="1" noChangeArrowheads="1"/>
                      </p:cNvPicPr>
                      <p:nvPr/>
                    </p:nvPicPr>
                    <p:blipFill>
                      <a:blip r:embed="rId5"/>
                      <a:srcRect/>
                      <a:stretch>
                        <a:fillRect/>
                      </a:stretch>
                    </p:blipFill>
                    <p:spPr bwMode="auto">
                      <a:xfrm>
                        <a:off x="7963545" y="2630990"/>
                        <a:ext cx="844468" cy="7125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图表 5"/>
          <p:cNvGraphicFramePr/>
          <p:nvPr/>
        </p:nvGraphicFramePr>
        <p:xfrm>
          <a:off x="182942" y="3616140"/>
          <a:ext cx="5852079" cy="28054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图表 5"/>
          <p:cNvGraphicFramePr/>
          <p:nvPr/>
        </p:nvGraphicFramePr>
        <p:xfrm>
          <a:off x="182942" y="835466"/>
          <a:ext cx="5852079" cy="272653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935843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Lusaka DT Quality – GSM</a:t>
            </a:r>
          </a:p>
        </p:txBody>
      </p:sp>
      <p:sp>
        <p:nvSpPr>
          <p:cNvPr id="6" name="TextBox 5"/>
          <p:cNvSpPr txBox="1"/>
          <p:nvPr/>
        </p:nvSpPr>
        <p:spPr>
          <a:xfrm>
            <a:off x="0" y="5849484"/>
            <a:ext cx="9144000" cy="578663"/>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108" b="1" dirty="0">
                <a:solidFill>
                  <a:srgbClr val="000000"/>
                </a:solidFill>
                <a:ea typeface="宋体"/>
                <a:cs typeface="Calibri" pitchFamily="34" charset="0"/>
              </a:rPr>
              <a:t>In Lusaka the </a:t>
            </a:r>
            <a:r>
              <a:rPr lang="en-US" altLang="zh-CN" sz="1108" b="1" dirty="0" err="1">
                <a:solidFill>
                  <a:srgbClr val="000000"/>
                </a:solidFill>
                <a:ea typeface="宋体"/>
                <a:cs typeface="Calibri" pitchFamily="34" charset="0"/>
              </a:rPr>
              <a:t>GSMauto</a:t>
            </a:r>
            <a:r>
              <a:rPr lang="en-US" altLang="zh-CN" sz="1108" b="1" dirty="0">
                <a:solidFill>
                  <a:srgbClr val="000000"/>
                </a:solidFill>
                <a:ea typeface="宋体"/>
                <a:cs typeface="Calibri" pitchFamily="34" charset="0"/>
              </a:rPr>
              <a:t> </a:t>
            </a:r>
            <a:r>
              <a:rPr lang="en-US" altLang="zh-CN" sz="1108" b="1" dirty="0" err="1">
                <a:solidFill>
                  <a:srgbClr val="000000"/>
                </a:solidFill>
                <a:ea typeface="宋体"/>
                <a:cs typeface="Calibri" pitchFamily="34" charset="0"/>
              </a:rPr>
              <a:t>RxQual</a:t>
            </a:r>
            <a:r>
              <a:rPr lang="en-US" altLang="zh-CN" sz="1108" b="1" dirty="0">
                <a:solidFill>
                  <a:srgbClr val="000000"/>
                </a:solidFill>
                <a:ea typeface="宋体"/>
                <a:cs typeface="Calibri" pitchFamily="34" charset="0"/>
              </a:rPr>
              <a:t> has improved. </a:t>
            </a:r>
            <a:r>
              <a:rPr lang="en-US" altLang="zh-CN" sz="1108" dirty="0">
                <a:solidFill>
                  <a:srgbClr val="000000"/>
                </a:solidFill>
                <a:ea typeface="宋体"/>
                <a:cs typeface="Calibri" pitchFamily="34" charset="0"/>
              </a:rPr>
              <a:t>The best samples (</a:t>
            </a:r>
            <a:r>
              <a:rPr lang="en-US" altLang="zh-CN" sz="1108" dirty="0" err="1">
                <a:solidFill>
                  <a:srgbClr val="000000"/>
                </a:solidFill>
                <a:ea typeface="宋体"/>
                <a:cs typeface="Calibri" pitchFamily="34" charset="0"/>
              </a:rPr>
              <a:t>RxQual</a:t>
            </a:r>
            <a:r>
              <a:rPr lang="en-US" altLang="zh-CN" sz="1108" dirty="0">
                <a:solidFill>
                  <a:srgbClr val="000000"/>
                </a:solidFill>
                <a:ea typeface="宋体"/>
                <a:cs typeface="Calibri" pitchFamily="34" charset="0"/>
              </a:rPr>
              <a:t> 0,1) increased from  70.49% to 85.25%  while Total </a:t>
            </a:r>
            <a:r>
              <a:rPr lang="en-US" altLang="zh-CN" sz="1108" dirty="0" err="1">
                <a:solidFill>
                  <a:srgbClr val="000000"/>
                </a:solidFill>
                <a:ea typeface="宋体"/>
                <a:cs typeface="Calibri" pitchFamily="34" charset="0"/>
              </a:rPr>
              <a:t>RxQual</a:t>
            </a:r>
            <a:r>
              <a:rPr lang="en-US" altLang="zh-CN" sz="1108" dirty="0">
                <a:solidFill>
                  <a:srgbClr val="000000"/>
                </a:solidFill>
                <a:ea typeface="宋体"/>
                <a:cs typeface="Calibri" pitchFamily="34" charset="0"/>
              </a:rPr>
              <a:t> &gt; 5 has increased from  92.5 to 94.7%. The most improvement is in the GSM 900 spectrum</a:t>
            </a:r>
          </a:p>
        </p:txBody>
      </p:sp>
      <p:grpSp>
        <p:nvGrpSpPr>
          <p:cNvPr id="2" name="Group 17"/>
          <p:cNvGrpSpPr/>
          <p:nvPr/>
        </p:nvGrpSpPr>
        <p:grpSpPr>
          <a:xfrm>
            <a:off x="182941" y="835465"/>
            <a:ext cx="7913606" cy="3125542"/>
            <a:chOff x="198091" y="620688"/>
            <a:chExt cx="8568952" cy="3384376"/>
          </a:xfrm>
        </p:grpSpPr>
        <p:grpSp>
          <p:nvGrpSpPr>
            <p:cNvPr id="3" name="Group 16"/>
            <p:cNvGrpSpPr/>
            <p:nvPr/>
          </p:nvGrpSpPr>
          <p:grpSpPr>
            <a:xfrm>
              <a:off x="198091" y="620688"/>
              <a:ext cx="3888432" cy="3384376"/>
              <a:chOff x="198091" y="620688"/>
              <a:chExt cx="3888432" cy="3384376"/>
            </a:xfrm>
          </p:grpSpPr>
          <p:pic>
            <p:nvPicPr>
              <p:cNvPr id="13" name="Picture 12"/>
              <p:cNvPicPr/>
              <p:nvPr/>
            </p:nvPicPr>
            <p:blipFill>
              <a:blip r:embed="rId2" cstate="print"/>
              <a:srcRect r="22582"/>
              <a:stretch>
                <a:fillRect/>
              </a:stretch>
            </p:blipFill>
            <p:spPr bwMode="auto">
              <a:xfrm>
                <a:off x="198091" y="620688"/>
                <a:ext cx="3888432" cy="3384376"/>
              </a:xfrm>
              <a:prstGeom prst="rect">
                <a:avLst/>
              </a:prstGeom>
              <a:noFill/>
              <a:ln w="9525">
                <a:solidFill>
                  <a:schemeClr val="accent1"/>
                </a:solidFill>
                <a:miter lim="800000"/>
                <a:headEnd/>
                <a:tailEnd/>
              </a:ln>
            </p:spPr>
          </p:pic>
          <p:sp>
            <p:nvSpPr>
              <p:cNvPr id="16" name="TextBox 15"/>
              <p:cNvSpPr txBox="1"/>
              <p:nvPr/>
            </p:nvSpPr>
            <p:spPr>
              <a:xfrm>
                <a:off x="198091" y="692696"/>
                <a:ext cx="2520280" cy="284595"/>
              </a:xfrm>
              <a:prstGeom prst="rect">
                <a:avLst/>
              </a:prstGeom>
              <a:noFill/>
            </p:spPr>
            <p:txBody>
              <a:bodyPr wrap="square" rtlCol="0">
                <a:spAutoFit/>
              </a:bodyPr>
              <a:lstStyle/>
              <a:p>
                <a:pPr algn="ctr"/>
                <a:r>
                  <a:rPr lang="en-US" sz="1108" dirty="0"/>
                  <a:t>Before</a:t>
                </a:r>
              </a:p>
            </p:txBody>
          </p:sp>
        </p:grpSp>
        <p:grpSp>
          <p:nvGrpSpPr>
            <p:cNvPr id="4" name="Group 11"/>
            <p:cNvGrpSpPr/>
            <p:nvPr/>
          </p:nvGrpSpPr>
          <p:grpSpPr>
            <a:xfrm>
              <a:off x="4158531" y="620688"/>
              <a:ext cx="4608512" cy="3384376"/>
              <a:chOff x="4158531" y="620688"/>
              <a:chExt cx="4608512" cy="3384376"/>
            </a:xfrm>
          </p:grpSpPr>
          <p:pic>
            <p:nvPicPr>
              <p:cNvPr id="10" name="Picture 9"/>
              <p:cNvPicPr/>
              <p:nvPr/>
            </p:nvPicPr>
            <p:blipFill>
              <a:blip r:embed="rId3" cstate="print"/>
              <a:srcRect/>
              <a:stretch>
                <a:fillRect/>
              </a:stretch>
            </p:blipFill>
            <p:spPr bwMode="auto">
              <a:xfrm>
                <a:off x="4158531" y="620688"/>
                <a:ext cx="4608512" cy="3384376"/>
              </a:xfrm>
              <a:prstGeom prst="rect">
                <a:avLst/>
              </a:prstGeom>
              <a:noFill/>
              <a:ln w="9525">
                <a:solidFill>
                  <a:schemeClr val="accent1"/>
                </a:solidFill>
                <a:miter lim="800000"/>
                <a:headEnd/>
                <a:tailEnd/>
              </a:ln>
            </p:spPr>
          </p:pic>
          <p:sp>
            <p:nvSpPr>
              <p:cNvPr id="11" name="TextBox 10"/>
              <p:cNvSpPr txBox="1"/>
              <p:nvPr/>
            </p:nvSpPr>
            <p:spPr>
              <a:xfrm>
                <a:off x="4158531" y="620688"/>
                <a:ext cx="2520280" cy="284595"/>
              </a:xfrm>
              <a:prstGeom prst="rect">
                <a:avLst/>
              </a:prstGeom>
              <a:noFill/>
            </p:spPr>
            <p:txBody>
              <a:bodyPr wrap="square" rtlCol="0">
                <a:spAutoFit/>
              </a:bodyPr>
              <a:lstStyle/>
              <a:p>
                <a:pPr algn="ctr"/>
                <a:r>
                  <a:rPr lang="en-US" sz="1108" dirty="0"/>
                  <a:t>After</a:t>
                </a:r>
              </a:p>
            </p:txBody>
          </p:sp>
        </p:grpSp>
      </p:grpSp>
      <p:graphicFrame>
        <p:nvGraphicFramePr>
          <p:cNvPr id="19" name="图表 5"/>
          <p:cNvGraphicFramePr/>
          <p:nvPr/>
        </p:nvGraphicFramePr>
        <p:xfrm>
          <a:off x="182941" y="3961008"/>
          <a:ext cx="4455560" cy="18620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4580793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bg1"/>
                </a:solidFill>
                <a:effectLst>
                  <a:outerShdw blurRad="38100" dist="38100" dir="2700000" algn="tl">
                    <a:srgbClr val="000000">
                      <a:alpha val="43137"/>
                    </a:srgbClr>
                  </a:outerShdw>
                </a:effectLst>
              </a:rPr>
              <a:t>Lusaka City – 3G Quality (</a:t>
            </a:r>
            <a:r>
              <a:rPr lang="en-ZA" sz="2586" b="1" dirty="0" err="1">
                <a:solidFill>
                  <a:schemeClr val="bg1"/>
                </a:solidFill>
                <a:effectLst>
                  <a:outerShdw blurRad="38100" dist="38100" dir="2700000" algn="tl">
                    <a:srgbClr val="000000">
                      <a:alpha val="43137"/>
                    </a:srgbClr>
                  </a:outerShdw>
                </a:effectLst>
              </a:rPr>
              <a:t>Ec</a:t>
            </a:r>
            <a:r>
              <a:rPr lang="en-ZA" sz="2586" b="1" dirty="0">
                <a:solidFill>
                  <a:schemeClr val="bg1"/>
                </a:solidFill>
                <a:effectLst>
                  <a:outerShdw blurRad="38100" dist="38100" dir="2700000" algn="tl">
                    <a:srgbClr val="000000">
                      <a:alpha val="43137"/>
                    </a:srgbClr>
                  </a:outerShdw>
                </a:effectLst>
              </a:rPr>
              <a:t>/Io)</a:t>
            </a:r>
          </a:p>
        </p:txBody>
      </p:sp>
      <p:sp>
        <p:nvSpPr>
          <p:cNvPr id="6" name="TextBox 5"/>
          <p:cNvSpPr txBox="1"/>
          <p:nvPr/>
        </p:nvSpPr>
        <p:spPr>
          <a:xfrm>
            <a:off x="4239496" y="4293410"/>
            <a:ext cx="4638501" cy="2156468"/>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b="1" dirty="0">
                <a:solidFill>
                  <a:srgbClr val="000000"/>
                </a:solidFill>
                <a:ea typeface="宋体"/>
                <a:cs typeface="Calibri" pitchFamily="34" charset="0"/>
              </a:rPr>
              <a:t>The 3G quality improved with the over 200 F2 cells introduced into the network.</a:t>
            </a:r>
            <a:r>
              <a:rPr lang="en-US" altLang="zh-CN" sz="1293" dirty="0">
                <a:solidFill>
                  <a:srgbClr val="000000"/>
                </a:solidFill>
                <a:ea typeface="宋体"/>
                <a:cs typeface="Calibri" pitchFamily="34" charset="0"/>
              </a:rPr>
              <a:t> The EFD feature also contributed to reducing the loading on cells. Good quality samples increased from 82% to 86%</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ea typeface="宋体"/>
                <a:cs typeface="Calibri" pitchFamily="34" charset="0"/>
              </a:rPr>
              <a:t>IBS / Lamp site, Split antenna, 3</a:t>
            </a:r>
            <a:r>
              <a:rPr lang="en-US" altLang="zh-CN" sz="1293" baseline="30000" dirty="0">
                <a:solidFill>
                  <a:srgbClr val="000000"/>
                </a:solidFill>
                <a:ea typeface="宋体"/>
                <a:cs typeface="Calibri" pitchFamily="34" charset="0"/>
              </a:rPr>
              <a:t>rd</a:t>
            </a:r>
            <a:r>
              <a:rPr lang="en-US" altLang="zh-CN" sz="1293" dirty="0">
                <a:solidFill>
                  <a:srgbClr val="000000"/>
                </a:solidFill>
                <a:ea typeface="宋体"/>
                <a:cs typeface="Calibri" pitchFamily="34" charset="0"/>
              </a:rPr>
              <a:t> &amp; 4</a:t>
            </a:r>
            <a:r>
              <a:rPr lang="en-US" altLang="zh-CN" sz="1293" baseline="30000" dirty="0">
                <a:solidFill>
                  <a:srgbClr val="000000"/>
                </a:solidFill>
                <a:ea typeface="宋体"/>
                <a:cs typeface="Calibri" pitchFamily="34" charset="0"/>
              </a:rPr>
              <a:t>th</a:t>
            </a:r>
            <a:r>
              <a:rPr lang="en-US" altLang="zh-CN" sz="1293" dirty="0">
                <a:solidFill>
                  <a:srgbClr val="000000"/>
                </a:solidFill>
                <a:ea typeface="宋体"/>
                <a:cs typeface="Calibri" pitchFamily="34" charset="0"/>
              </a:rPr>
              <a:t> Carrier solutions should be considered for hot spot areas where the users and load continues to rise.</a:t>
            </a:r>
          </a:p>
        </p:txBody>
      </p:sp>
      <p:grpSp>
        <p:nvGrpSpPr>
          <p:cNvPr id="25" name="Group 24"/>
          <p:cNvGrpSpPr/>
          <p:nvPr/>
        </p:nvGrpSpPr>
        <p:grpSpPr>
          <a:xfrm>
            <a:off x="249442" y="835466"/>
            <a:ext cx="6317585" cy="234551"/>
            <a:chOff x="270099" y="620688"/>
            <a:chExt cx="6840760" cy="253974"/>
          </a:xfrm>
        </p:grpSpPr>
        <p:sp>
          <p:nvSpPr>
            <p:cNvPr id="23" name="TextBox 22"/>
            <p:cNvSpPr txBox="1"/>
            <p:nvPr/>
          </p:nvSpPr>
          <p:spPr>
            <a:xfrm>
              <a:off x="270099" y="620688"/>
              <a:ext cx="2736304" cy="253974"/>
            </a:xfrm>
            <a:prstGeom prst="rect">
              <a:avLst/>
            </a:prstGeom>
            <a:noFill/>
          </p:spPr>
          <p:txBody>
            <a:bodyPr wrap="square" rtlCol="0">
              <a:spAutoFit/>
            </a:bodyPr>
            <a:lstStyle/>
            <a:p>
              <a:r>
                <a:rPr lang="en-US" sz="924" dirty="0"/>
                <a:t>Quality – </a:t>
              </a:r>
              <a:r>
                <a:rPr lang="en-US" sz="924" dirty="0" err="1"/>
                <a:t>Ec</a:t>
              </a:r>
              <a:r>
                <a:rPr lang="en-US" sz="924" dirty="0"/>
                <a:t>/Io before</a:t>
              </a:r>
            </a:p>
          </p:txBody>
        </p:sp>
        <p:sp>
          <p:nvSpPr>
            <p:cNvPr id="24" name="TextBox 23"/>
            <p:cNvSpPr txBox="1"/>
            <p:nvPr/>
          </p:nvSpPr>
          <p:spPr>
            <a:xfrm>
              <a:off x="4374555" y="620688"/>
              <a:ext cx="2736304" cy="253974"/>
            </a:xfrm>
            <a:prstGeom prst="rect">
              <a:avLst/>
            </a:prstGeom>
            <a:noFill/>
          </p:spPr>
          <p:txBody>
            <a:bodyPr wrap="square" rtlCol="0">
              <a:spAutoFit/>
            </a:bodyPr>
            <a:lstStyle/>
            <a:p>
              <a:r>
                <a:rPr lang="en-US" sz="924" dirty="0"/>
                <a:t>Quality – </a:t>
              </a:r>
              <a:r>
                <a:rPr lang="en-US" sz="924" dirty="0" err="1"/>
                <a:t>Ec</a:t>
              </a:r>
              <a:r>
                <a:rPr lang="en-US" sz="924" dirty="0"/>
                <a:t>/Io after</a:t>
              </a:r>
            </a:p>
          </p:txBody>
        </p:sp>
      </p:grpSp>
      <p:pic>
        <p:nvPicPr>
          <p:cNvPr id="26" name="Picture 25"/>
          <p:cNvPicPr>
            <a:picLocks noChangeAspect="1" noChangeArrowheads="1"/>
          </p:cNvPicPr>
          <p:nvPr/>
        </p:nvPicPr>
        <p:blipFill>
          <a:blip r:embed="rId2" cstate="print"/>
          <a:srcRect/>
          <a:stretch>
            <a:fillRect/>
          </a:stretch>
        </p:blipFill>
        <p:spPr bwMode="auto">
          <a:xfrm>
            <a:off x="249443" y="1101469"/>
            <a:ext cx="3923553" cy="3059041"/>
          </a:xfrm>
          <a:prstGeom prst="rect">
            <a:avLst/>
          </a:prstGeom>
          <a:noFill/>
          <a:ln w="9525">
            <a:solidFill>
              <a:sysClr val="windowText" lastClr="000000"/>
            </a:solidFill>
            <a:miter lim="800000"/>
            <a:headEnd/>
            <a:tailEnd/>
          </a:ln>
        </p:spPr>
      </p:pic>
      <p:pic>
        <p:nvPicPr>
          <p:cNvPr id="27" name="Picture 26"/>
          <p:cNvPicPr>
            <a:picLocks noChangeAspect="1" noChangeArrowheads="1"/>
          </p:cNvPicPr>
          <p:nvPr/>
        </p:nvPicPr>
        <p:blipFill>
          <a:blip r:embed="rId3" cstate="print"/>
          <a:srcRect/>
          <a:stretch>
            <a:fillRect/>
          </a:stretch>
        </p:blipFill>
        <p:spPr bwMode="auto">
          <a:xfrm>
            <a:off x="4172996" y="1101469"/>
            <a:ext cx="4189556" cy="3059041"/>
          </a:xfrm>
          <a:prstGeom prst="rect">
            <a:avLst/>
          </a:prstGeom>
          <a:noFill/>
          <a:ln w="9525">
            <a:solidFill>
              <a:sysClr val="windowText" lastClr="000000"/>
            </a:solidFill>
            <a:miter lim="800000"/>
            <a:headEnd/>
            <a:tailEnd/>
          </a:ln>
        </p:spPr>
      </p:pic>
      <p:graphicFrame>
        <p:nvGraphicFramePr>
          <p:cNvPr id="28" name="图表 5"/>
          <p:cNvGraphicFramePr/>
          <p:nvPr/>
        </p:nvGraphicFramePr>
        <p:xfrm>
          <a:off x="249443" y="4264672"/>
          <a:ext cx="3923553" cy="215686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281566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bg1"/>
                </a:solidFill>
                <a:effectLst>
                  <a:outerShdw blurRad="38100" dist="38100" dir="2700000" algn="tl">
                    <a:srgbClr val="000000">
                      <a:alpha val="43137"/>
                    </a:srgbClr>
                  </a:outerShdw>
                </a:effectLst>
              </a:rPr>
              <a:t>Lusaka City – 3G Coverage (RSCP)</a:t>
            </a:r>
          </a:p>
        </p:txBody>
      </p:sp>
      <p:sp>
        <p:nvSpPr>
          <p:cNvPr id="6" name="TextBox 5"/>
          <p:cNvSpPr txBox="1"/>
          <p:nvPr/>
        </p:nvSpPr>
        <p:spPr>
          <a:xfrm>
            <a:off x="4438999" y="4741130"/>
            <a:ext cx="4438998" cy="1261030"/>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b="1" dirty="0">
                <a:solidFill>
                  <a:srgbClr val="000000"/>
                </a:solidFill>
                <a:ea typeface="宋体"/>
                <a:cs typeface="Calibri" pitchFamily="34" charset="0"/>
              </a:rPr>
              <a:t>The 3G coverage in Lusaka City is good</a:t>
            </a:r>
            <a:r>
              <a:rPr lang="en-US" altLang="zh-CN" sz="1293" dirty="0">
                <a:solidFill>
                  <a:srgbClr val="000000"/>
                </a:solidFill>
                <a:ea typeface="宋体"/>
                <a:cs typeface="Calibri" pitchFamily="34" charset="0"/>
              </a:rPr>
              <a:t>. The before and after sample (RSCP &gt;-95dBm) averaged around 98.7%. </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ea typeface="宋体"/>
                <a:cs typeface="Calibri" pitchFamily="34" charset="0"/>
              </a:rPr>
              <a:t>There were 2 additional sites in H1 2015 that improved the coverage in the </a:t>
            </a:r>
            <a:r>
              <a:rPr lang="en-US" altLang="zh-CN" sz="1293" dirty="0" err="1">
                <a:solidFill>
                  <a:srgbClr val="000000"/>
                </a:solidFill>
                <a:ea typeface="宋体"/>
                <a:cs typeface="Calibri" pitchFamily="34" charset="0"/>
              </a:rPr>
              <a:t>Makeni</a:t>
            </a:r>
            <a:r>
              <a:rPr lang="en-US" altLang="zh-CN" sz="1293" dirty="0">
                <a:solidFill>
                  <a:srgbClr val="000000"/>
                </a:solidFill>
                <a:ea typeface="宋体"/>
                <a:cs typeface="Calibri" pitchFamily="34" charset="0"/>
              </a:rPr>
              <a:t> and </a:t>
            </a:r>
            <a:r>
              <a:rPr lang="en-US" altLang="zh-CN" sz="1293" dirty="0" err="1">
                <a:solidFill>
                  <a:srgbClr val="000000"/>
                </a:solidFill>
                <a:ea typeface="宋体"/>
                <a:cs typeface="Calibri" pitchFamily="34" charset="0"/>
              </a:rPr>
              <a:t>Salama</a:t>
            </a:r>
            <a:r>
              <a:rPr lang="en-US" altLang="zh-CN" sz="1293" dirty="0">
                <a:solidFill>
                  <a:srgbClr val="000000"/>
                </a:solidFill>
                <a:ea typeface="宋体"/>
                <a:cs typeface="Calibri" pitchFamily="34" charset="0"/>
              </a:rPr>
              <a:t> park areas</a:t>
            </a:r>
          </a:p>
        </p:txBody>
      </p:sp>
      <p:grpSp>
        <p:nvGrpSpPr>
          <p:cNvPr id="11" name="Group 10"/>
          <p:cNvGrpSpPr/>
          <p:nvPr/>
        </p:nvGrpSpPr>
        <p:grpSpPr>
          <a:xfrm>
            <a:off x="249442" y="835466"/>
            <a:ext cx="6317585" cy="234551"/>
            <a:chOff x="270099" y="620688"/>
            <a:chExt cx="6840760" cy="253974"/>
          </a:xfrm>
        </p:grpSpPr>
        <p:sp>
          <p:nvSpPr>
            <p:cNvPr id="16" name="TextBox 15"/>
            <p:cNvSpPr txBox="1"/>
            <p:nvPr/>
          </p:nvSpPr>
          <p:spPr>
            <a:xfrm>
              <a:off x="270099" y="620688"/>
              <a:ext cx="2736304" cy="253974"/>
            </a:xfrm>
            <a:prstGeom prst="rect">
              <a:avLst/>
            </a:prstGeom>
            <a:noFill/>
          </p:spPr>
          <p:txBody>
            <a:bodyPr wrap="square" rtlCol="0">
              <a:spAutoFit/>
            </a:bodyPr>
            <a:lstStyle/>
            <a:p>
              <a:r>
                <a:rPr lang="en-US" sz="924" dirty="0"/>
                <a:t>Coverage– RSCP before</a:t>
              </a:r>
            </a:p>
          </p:txBody>
        </p:sp>
        <p:sp>
          <p:nvSpPr>
            <p:cNvPr id="17" name="TextBox 16"/>
            <p:cNvSpPr txBox="1"/>
            <p:nvPr/>
          </p:nvSpPr>
          <p:spPr>
            <a:xfrm>
              <a:off x="4374555" y="620688"/>
              <a:ext cx="2736304" cy="253974"/>
            </a:xfrm>
            <a:prstGeom prst="rect">
              <a:avLst/>
            </a:prstGeom>
            <a:noFill/>
          </p:spPr>
          <p:txBody>
            <a:bodyPr wrap="square" rtlCol="0">
              <a:spAutoFit/>
            </a:bodyPr>
            <a:lstStyle/>
            <a:p>
              <a:r>
                <a:rPr lang="en-US" sz="924" dirty="0"/>
                <a:t>Coverage – RSCP after</a:t>
              </a:r>
            </a:p>
          </p:txBody>
        </p:sp>
      </p:grpSp>
      <p:pic>
        <p:nvPicPr>
          <p:cNvPr id="18" name="Picture 17"/>
          <p:cNvPicPr>
            <a:picLocks noChangeAspect="1" noChangeArrowheads="1"/>
          </p:cNvPicPr>
          <p:nvPr/>
        </p:nvPicPr>
        <p:blipFill>
          <a:blip r:embed="rId2" cstate="print"/>
          <a:srcRect/>
          <a:stretch>
            <a:fillRect/>
          </a:stretch>
        </p:blipFill>
        <p:spPr bwMode="auto">
          <a:xfrm>
            <a:off x="182941" y="1101469"/>
            <a:ext cx="3990054" cy="2992540"/>
          </a:xfrm>
          <a:prstGeom prst="rect">
            <a:avLst/>
          </a:prstGeom>
          <a:noFill/>
          <a:ln w="9525">
            <a:solidFill>
              <a:sysClr val="windowText" lastClr="000000"/>
            </a:solidFill>
            <a:miter lim="800000"/>
            <a:headEnd/>
            <a:tailEnd/>
          </a:ln>
        </p:spPr>
      </p:pic>
      <p:pic>
        <p:nvPicPr>
          <p:cNvPr id="19" name="Picture 18"/>
          <p:cNvPicPr>
            <a:picLocks noChangeAspect="1" noChangeArrowheads="1"/>
          </p:cNvPicPr>
          <p:nvPr/>
        </p:nvPicPr>
        <p:blipFill>
          <a:blip r:embed="rId3" cstate="print"/>
          <a:srcRect/>
          <a:stretch>
            <a:fillRect/>
          </a:stretch>
        </p:blipFill>
        <p:spPr bwMode="auto">
          <a:xfrm>
            <a:off x="4172994" y="1101469"/>
            <a:ext cx="4433455" cy="2992540"/>
          </a:xfrm>
          <a:prstGeom prst="rect">
            <a:avLst/>
          </a:prstGeom>
          <a:noFill/>
          <a:ln w="9525">
            <a:solidFill>
              <a:sysClr val="windowText" lastClr="000000"/>
            </a:solidFill>
            <a:miter lim="800000"/>
            <a:headEnd/>
            <a:tailEnd/>
          </a:ln>
        </p:spPr>
      </p:pic>
      <p:graphicFrame>
        <p:nvGraphicFramePr>
          <p:cNvPr id="22" name="图表 5"/>
          <p:cNvGraphicFramePr/>
          <p:nvPr/>
        </p:nvGraphicFramePr>
        <p:xfrm>
          <a:off x="182942" y="4160510"/>
          <a:ext cx="4189556" cy="22645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51233594"/>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bg1"/>
                </a:solidFill>
                <a:effectLst>
                  <a:outerShdw blurRad="38100" dist="38100" dir="2700000" algn="tl">
                    <a:srgbClr val="000000">
                      <a:alpha val="43137"/>
                    </a:srgbClr>
                  </a:outerShdw>
                </a:effectLst>
              </a:rPr>
              <a:t>Lusaka City – HSDPA Throughput</a:t>
            </a:r>
          </a:p>
        </p:txBody>
      </p:sp>
      <p:sp>
        <p:nvSpPr>
          <p:cNvPr id="6" name="TextBox 5"/>
          <p:cNvSpPr txBox="1"/>
          <p:nvPr/>
        </p:nvSpPr>
        <p:spPr>
          <a:xfrm>
            <a:off x="4438998" y="4442653"/>
            <a:ext cx="4522061" cy="1857988"/>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b="1" dirty="0">
                <a:solidFill>
                  <a:srgbClr val="000000"/>
                </a:solidFill>
                <a:ea typeface="宋体"/>
                <a:cs typeface="Calibri" pitchFamily="34" charset="0"/>
              </a:rPr>
              <a:t>The Lusaka average HSDPA throughput are good </a:t>
            </a:r>
            <a:r>
              <a:rPr lang="en-US" altLang="zh-CN" sz="1293" dirty="0">
                <a:solidFill>
                  <a:srgbClr val="000000"/>
                </a:solidFill>
                <a:ea typeface="宋体"/>
                <a:cs typeface="Calibri" pitchFamily="34" charset="0"/>
              </a:rPr>
              <a:t>averaging around 5.715Mbps  with about 95% samples &gt;1Mbps for before and after drives</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ea typeface="宋体"/>
                <a:cs typeface="Calibri" pitchFamily="34" charset="0"/>
              </a:rPr>
              <a:t>The throughput above 14Mbps increased in the after drives following the new F2 cells, EFD and DC HSDPA features introduced in the network.</a:t>
            </a:r>
          </a:p>
        </p:txBody>
      </p:sp>
      <p:grpSp>
        <p:nvGrpSpPr>
          <p:cNvPr id="2" name="Group 10"/>
          <p:cNvGrpSpPr/>
          <p:nvPr/>
        </p:nvGrpSpPr>
        <p:grpSpPr>
          <a:xfrm>
            <a:off x="249442" y="835465"/>
            <a:ext cx="7248598" cy="2973823"/>
            <a:chOff x="270099" y="620688"/>
            <a:chExt cx="7848872" cy="3220093"/>
          </a:xfrm>
        </p:grpSpPr>
        <p:grpSp>
          <p:nvGrpSpPr>
            <p:cNvPr id="3" name="Group 21"/>
            <p:cNvGrpSpPr/>
            <p:nvPr/>
          </p:nvGrpSpPr>
          <p:grpSpPr>
            <a:xfrm>
              <a:off x="4734595" y="1988841"/>
              <a:ext cx="3384376" cy="1851940"/>
              <a:chOff x="4662587" y="1940313"/>
              <a:chExt cx="3384376" cy="1892199"/>
            </a:xfrm>
          </p:grpSpPr>
          <p:sp>
            <p:nvSpPr>
              <p:cNvPr id="21" name="TextBox 20"/>
              <p:cNvSpPr txBox="1"/>
              <p:nvPr/>
            </p:nvSpPr>
            <p:spPr>
              <a:xfrm>
                <a:off x="4662587" y="3573016"/>
                <a:ext cx="360039" cy="259496"/>
              </a:xfrm>
              <a:prstGeom prst="rect">
                <a:avLst/>
              </a:prstGeom>
              <a:noFill/>
            </p:spPr>
            <p:txBody>
              <a:bodyPr wrap="square" rtlCol="0">
                <a:spAutoFit/>
              </a:bodyPr>
              <a:lstStyle/>
              <a:p>
                <a:r>
                  <a:rPr lang="en-US" sz="924" dirty="0"/>
                  <a:t>1</a:t>
                </a:r>
              </a:p>
            </p:txBody>
          </p:sp>
          <p:sp>
            <p:nvSpPr>
              <p:cNvPr id="25" name="TextBox 24"/>
              <p:cNvSpPr txBox="1"/>
              <p:nvPr/>
            </p:nvSpPr>
            <p:spPr>
              <a:xfrm>
                <a:off x="7686924" y="1940313"/>
                <a:ext cx="360039" cy="259496"/>
              </a:xfrm>
              <a:prstGeom prst="rect">
                <a:avLst/>
              </a:prstGeom>
              <a:noFill/>
            </p:spPr>
            <p:txBody>
              <a:bodyPr wrap="square" rtlCol="0">
                <a:spAutoFit/>
              </a:bodyPr>
              <a:lstStyle/>
              <a:p>
                <a:r>
                  <a:rPr lang="en-US" sz="924" dirty="0"/>
                  <a:t>3</a:t>
                </a:r>
              </a:p>
            </p:txBody>
          </p:sp>
        </p:grpSp>
        <p:sp>
          <p:nvSpPr>
            <p:cNvPr id="16" name="TextBox 15"/>
            <p:cNvSpPr txBox="1"/>
            <p:nvPr/>
          </p:nvSpPr>
          <p:spPr>
            <a:xfrm>
              <a:off x="270099" y="620688"/>
              <a:ext cx="2736304" cy="253975"/>
            </a:xfrm>
            <a:prstGeom prst="rect">
              <a:avLst/>
            </a:prstGeom>
            <a:noFill/>
          </p:spPr>
          <p:txBody>
            <a:bodyPr wrap="square" rtlCol="0">
              <a:spAutoFit/>
            </a:bodyPr>
            <a:lstStyle/>
            <a:p>
              <a:r>
                <a:rPr lang="en-US" sz="924" dirty="0"/>
                <a:t>Throughput plot -- before</a:t>
              </a:r>
            </a:p>
          </p:txBody>
        </p:sp>
        <p:sp>
          <p:nvSpPr>
            <p:cNvPr id="17" name="TextBox 16"/>
            <p:cNvSpPr txBox="1"/>
            <p:nvPr/>
          </p:nvSpPr>
          <p:spPr>
            <a:xfrm>
              <a:off x="4374555" y="620688"/>
              <a:ext cx="2736304" cy="253975"/>
            </a:xfrm>
            <a:prstGeom prst="rect">
              <a:avLst/>
            </a:prstGeom>
            <a:noFill/>
          </p:spPr>
          <p:txBody>
            <a:bodyPr wrap="square" rtlCol="0">
              <a:spAutoFit/>
            </a:bodyPr>
            <a:lstStyle/>
            <a:p>
              <a:r>
                <a:rPr lang="en-US" sz="924" dirty="0"/>
                <a:t>Throughput plot - after</a:t>
              </a:r>
            </a:p>
          </p:txBody>
        </p:sp>
      </p:grpSp>
      <p:pic>
        <p:nvPicPr>
          <p:cNvPr id="19" name="Picture 18"/>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9442" y="4160510"/>
            <a:ext cx="3990054" cy="2210348"/>
          </a:xfrm>
          <a:prstGeom prst="rect">
            <a:avLst/>
          </a:prstGeom>
          <a:noFill/>
        </p:spPr>
      </p:pic>
      <p:grpSp>
        <p:nvGrpSpPr>
          <p:cNvPr id="31" name="Group 30"/>
          <p:cNvGrpSpPr/>
          <p:nvPr/>
        </p:nvGrpSpPr>
        <p:grpSpPr>
          <a:xfrm>
            <a:off x="182941" y="1101469"/>
            <a:ext cx="8476287" cy="2926040"/>
            <a:chOff x="198091" y="908720"/>
            <a:chExt cx="9178230" cy="3168353"/>
          </a:xfrm>
        </p:grpSpPr>
        <p:pic>
          <p:nvPicPr>
            <p:cNvPr id="29" name="Picture 28"/>
            <p:cNvPicPr>
              <a:picLocks noChangeAspect="1" noChangeArrowheads="1"/>
            </p:cNvPicPr>
            <p:nvPr/>
          </p:nvPicPr>
          <p:blipFill>
            <a:blip r:embed="rId3" cstate="print"/>
            <a:srcRect/>
            <a:stretch>
              <a:fillRect/>
            </a:stretch>
          </p:blipFill>
          <p:spPr bwMode="auto">
            <a:xfrm>
              <a:off x="198091" y="908720"/>
              <a:ext cx="4320480" cy="3168352"/>
            </a:xfrm>
            <a:prstGeom prst="rect">
              <a:avLst/>
            </a:prstGeom>
            <a:noFill/>
            <a:ln w="9525">
              <a:solidFill>
                <a:sysClr val="windowText" lastClr="000000"/>
              </a:solidFill>
              <a:miter lim="800000"/>
              <a:headEnd/>
              <a:tailEnd/>
            </a:ln>
          </p:spPr>
        </p:pic>
        <p:pic>
          <p:nvPicPr>
            <p:cNvPr id="30" name="Picture 29"/>
            <p:cNvPicPr>
              <a:picLocks noChangeAspect="1" noChangeArrowheads="1"/>
            </p:cNvPicPr>
            <p:nvPr/>
          </p:nvPicPr>
          <p:blipFill>
            <a:blip r:embed="rId4" cstate="print"/>
            <a:srcRect/>
            <a:stretch>
              <a:fillRect/>
            </a:stretch>
          </p:blipFill>
          <p:spPr bwMode="auto">
            <a:xfrm>
              <a:off x="4518571" y="908721"/>
              <a:ext cx="4857750" cy="3168352"/>
            </a:xfrm>
            <a:prstGeom prst="rect">
              <a:avLst/>
            </a:prstGeom>
            <a:noFill/>
            <a:ln w="9525">
              <a:solidFill>
                <a:sysClr val="windowText" lastClr="000000"/>
              </a:solidFill>
              <a:miter lim="800000"/>
              <a:headEnd/>
              <a:tailEnd/>
            </a:ln>
          </p:spPr>
        </p:pic>
      </p:grpSp>
    </p:spTree>
    <p:extLst>
      <p:ext uri="{BB962C8B-B14F-4D97-AF65-F5344CB8AC3E}">
        <p14:creationId xmlns:p14="http://schemas.microsoft.com/office/powerpoint/2010/main" val="4230926512"/>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p:nvPr/>
        </p:nvPicPr>
        <p:blipFill>
          <a:blip r:embed="rId2" cstate="print"/>
          <a:srcRect/>
          <a:stretch>
            <a:fillRect/>
          </a:stretch>
        </p:blipFill>
        <p:spPr bwMode="auto">
          <a:xfrm>
            <a:off x="4372497" y="901966"/>
            <a:ext cx="4189556" cy="2926039"/>
          </a:xfrm>
          <a:prstGeom prst="rect">
            <a:avLst/>
          </a:prstGeom>
          <a:noFill/>
          <a:ln w="9525">
            <a:solidFill>
              <a:schemeClr val="accent1"/>
            </a:solidFill>
            <a:miter lim="800000"/>
            <a:headEnd/>
            <a:tailEnd/>
          </a:ln>
        </p:spPr>
      </p:pic>
      <p:pic>
        <p:nvPicPr>
          <p:cNvPr id="13" name="Picture 12"/>
          <p:cNvPicPr/>
          <p:nvPr/>
        </p:nvPicPr>
        <p:blipFill>
          <a:blip r:embed="rId3" cstate="print"/>
          <a:srcRect/>
          <a:stretch>
            <a:fillRect/>
          </a:stretch>
        </p:blipFill>
        <p:spPr bwMode="auto">
          <a:xfrm>
            <a:off x="182941" y="901966"/>
            <a:ext cx="4189556" cy="2926039"/>
          </a:xfrm>
          <a:prstGeom prst="rect">
            <a:avLst/>
          </a:prstGeom>
          <a:noFill/>
          <a:ln w="9525">
            <a:solidFill>
              <a:schemeClr val="accent1"/>
            </a:solidFill>
            <a:miter lim="800000"/>
            <a:headEnd/>
            <a:tailEnd/>
          </a:ln>
        </p:spPr>
      </p:pic>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bg1"/>
                </a:solidFill>
                <a:effectLst>
                  <a:outerShdw blurRad="38100" dist="38100" dir="2700000" algn="tl">
                    <a:srgbClr val="000000">
                      <a:alpha val="43137"/>
                    </a:srgbClr>
                  </a:outerShdw>
                </a:effectLst>
              </a:rPr>
              <a:t>Ndola DT Coverage Plots – GSM</a:t>
            </a:r>
          </a:p>
        </p:txBody>
      </p:sp>
      <p:sp>
        <p:nvSpPr>
          <p:cNvPr id="6" name="TextBox 5"/>
          <p:cNvSpPr txBox="1"/>
          <p:nvPr/>
        </p:nvSpPr>
        <p:spPr>
          <a:xfrm>
            <a:off x="0" y="5894669"/>
            <a:ext cx="9144000" cy="578663"/>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108" b="1" dirty="0">
                <a:solidFill>
                  <a:srgbClr val="000000"/>
                </a:solidFill>
                <a:ea typeface="宋体"/>
                <a:cs typeface="Calibri" pitchFamily="34" charset="0"/>
              </a:rPr>
              <a:t>Ndola 2G coverage on the GSM 900 is generally good. New T3499_ZM3470_NDOLA LIME has improved coverage</a:t>
            </a:r>
          </a:p>
          <a:p>
            <a:pPr defTabSz="421558" fontAlgn="auto">
              <a:lnSpc>
                <a:spcPct val="150000"/>
              </a:lnSpc>
              <a:spcBef>
                <a:spcPts val="0"/>
              </a:spcBef>
              <a:spcAft>
                <a:spcPts val="0"/>
              </a:spcAft>
              <a:buFont typeface="Wingdings" pitchFamily="2" charset="2"/>
              <a:buChar char="Ø"/>
            </a:pPr>
            <a:r>
              <a:rPr lang="en-US" altLang="zh-CN" sz="1108" dirty="0">
                <a:solidFill>
                  <a:srgbClr val="000000"/>
                </a:solidFill>
                <a:ea typeface="宋体"/>
                <a:cs typeface="Calibri" pitchFamily="34" charset="0"/>
              </a:rPr>
              <a:t>Up to 98.63% samples in Lusaka measured better than -90dBm therefore no major challenge with coverage.</a:t>
            </a:r>
          </a:p>
        </p:txBody>
      </p:sp>
      <p:grpSp>
        <p:nvGrpSpPr>
          <p:cNvPr id="3" name="Group 16"/>
          <p:cNvGrpSpPr/>
          <p:nvPr/>
        </p:nvGrpSpPr>
        <p:grpSpPr>
          <a:xfrm>
            <a:off x="2776476" y="901966"/>
            <a:ext cx="5785578" cy="262829"/>
            <a:chOff x="3006403" y="692696"/>
            <a:chExt cx="6264696" cy="284595"/>
          </a:xfrm>
        </p:grpSpPr>
        <p:sp>
          <p:nvSpPr>
            <p:cNvPr id="14" name="TextBox 13"/>
            <p:cNvSpPr txBox="1"/>
            <p:nvPr/>
          </p:nvSpPr>
          <p:spPr>
            <a:xfrm>
              <a:off x="7398891" y="692696"/>
              <a:ext cx="1872208" cy="284595"/>
            </a:xfrm>
            <a:prstGeom prst="rect">
              <a:avLst/>
            </a:prstGeom>
            <a:noFill/>
          </p:spPr>
          <p:txBody>
            <a:bodyPr wrap="square" rtlCol="0">
              <a:spAutoFit/>
            </a:bodyPr>
            <a:lstStyle/>
            <a:p>
              <a:pPr algn="ctr"/>
              <a:r>
                <a:rPr lang="en-US" sz="1108" dirty="0"/>
                <a:t>After</a:t>
              </a:r>
            </a:p>
          </p:txBody>
        </p:sp>
        <p:sp>
          <p:nvSpPr>
            <p:cNvPr id="16" name="TextBox 15"/>
            <p:cNvSpPr txBox="1"/>
            <p:nvPr/>
          </p:nvSpPr>
          <p:spPr>
            <a:xfrm>
              <a:off x="3006403" y="692696"/>
              <a:ext cx="1656184" cy="284595"/>
            </a:xfrm>
            <a:prstGeom prst="rect">
              <a:avLst/>
            </a:prstGeom>
            <a:noFill/>
          </p:spPr>
          <p:txBody>
            <a:bodyPr wrap="square" rtlCol="0">
              <a:spAutoFit/>
            </a:bodyPr>
            <a:lstStyle/>
            <a:p>
              <a:pPr algn="ctr"/>
              <a:r>
                <a:rPr lang="en-US" sz="1108" dirty="0"/>
                <a:t>Before</a:t>
              </a:r>
            </a:p>
          </p:txBody>
        </p:sp>
      </p:grpSp>
      <p:graphicFrame>
        <p:nvGraphicFramePr>
          <p:cNvPr id="17" name="图表 5"/>
          <p:cNvGraphicFramePr/>
          <p:nvPr/>
        </p:nvGraphicFramePr>
        <p:xfrm>
          <a:off x="182942" y="3894506"/>
          <a:ext cx="4340357" cy="19285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543861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1"/>
          <p:cNvSpPr>
            <a:spLocks noGrp="1"/>
          </p:cNvSpPr>
          <p:nvPr>
            <p:ph type="body" sz="quarter" idx="10"/>
          </p:nvPr>
        </p:nvSpPr>
        <p:spPr/>
        <p:txBody>
          <a:bodyPr>
            <a:normAutofit/>
          </a:bodyPr>
          <a:lstStyle/>
          <a:p>
            <a:r>
              <a:rPr lang="en-US" altLang="zh-CN" sz="2400" b="1" dirty="0" smtClean="0">
                <a:solidFill>
                  <a:schemeClr val="tx1"/>
                </a:solidFill>
                <a:latin typeface="Arial" pitchFamily="34" charset="0"/>
                <a:ea typeface="宋体" pitchFamily="2" charset="-122"/>
                <a:cs typeface="Arial" pitchFamily="34" charset="0"/>
              </a:rPr>
              <a:t>Summary</a:t>
            </a:r>
          </a:p>
        </p:txBody>
      </p:sp>
      <p:sp>
        <p:nvSpPr>
          <p:cNvPr id="2" name="Text Placeholder 1"/>
          <p:cNvSpPr>
            <a:spLocks noGrp="1"/>
          </p:cNvSpPr>
          <p:nvPr>
            <p:ph type="body" sz="quarter" idx="11"/>
          </p:nvPr>
        </p:nvSpPr>
        <p:spPr>
          <a:xfrm>
            <a:off x="0" y="914400"/>
            <a:ext cx="9144000" cy="5514996"/>
          </a:xfrm>
        </p:spPr>
        <p:txBody>
          <a:bodyPr/>
          <a:lstStyle/>
          <a:p>
            <a:r>
              <a:rPr lang="en-US" dirty="0" smtClean="0"/>
              <a:t>When you work with the regulator as a partner in customer experience the subscribers benefit from good QOS.</a:t>
            </a:r>
          </a:p>
          <a:p>
            <a:endParaRPr lang="en-US" dirty="0"/>
          </a:p>
          <a:p>
            <a:r>
              <a:rPr lang="en-US" dirty="0" smtClean="0"/>
              <a:t>MTN always views ZICTA as a partner in QOS and currently we are engaging them on spectrum to ensure that the services we offer and the best in the industry.</a:t>
            </a:r>
            <a:endParaRPr lang="en-US" dirty="0"/>
          </a:p>
        </p:txBody>
      </p:sp>
      <p:sp>
        <p:nvSpPr>
          <p:cNvPr id="12291" name="Slide Number Placeholder 3"/>
          <p:cNvSpPr>
            <a:spLocks noGrp="1"/>
          </p:cNvSpPr>
          <p:nvPr>
            <p:ph type="sldNum" sz="quarter" idx="4294967295"/>
          </p:nvPr>
        </p:nvSpPr>
        <p:spPr bwMode="auto">
          <a:xfrm>
            <a:off x="8715375" y="6470650"/>
            <a:ext cx="42862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1762" indent="-285295" eaLnBrk="0" hangingPunct="0">
              <a:defRPr>
                <a:solidFill>
                  <a:schemeClr val="tx1"/>
                </a:solidFill>
                <a:latin typeface="Arial" charset="0"/>
                <a:cs typeface="Arial" charset="0"/>
              </a:defRPr>
            </a:lvl2pPr>
            <a:lvl3pPr marL="1141172" indent="-228236" eaLnBrk="0" hangingPunct="0">
              <a:defRPr>
                <a:solidFill>
                  <a:schemeClr val="tx1"/>
                </a:solidFill>
                <a:latin typeface="Arial" charset="0"/>
                <a:cs typeface="Arial" charset="0"/>
              </a:defRPr>
            </a:lvl3pPr>
            <a:lvl4pPr marL="1597641" indent="-228236" eaLnBrk="0" hangingPunct="0">
              <a:defRPr>
                <a:solidFill>
                  <a:schemeClr val="tx1"/>
                </a:solidFill>
                <a:latin typeface="Arial" charset="0"/>
                <a:cs typeface="Arial" charset="0"/>
              </a:defRPr>
            </a:lvl4pPr>
            <a:lvl5pPr marL="2054110" indent="-228236" eaLnBrk="0" hangingPunct="0">
              <a:defRPr>
                <a:solidFill>
                  <a:schemeClr val="tx1"/>
                </a:solidFill>
                <a:latin typeface="Arial" charset="0"/>
                <a:cs typeface="Arial" charset="0"/>
              </a:defRPr>
            </a:lvl5pPr>
            <a:lvl6pPr marL="2510578" indent="-228236" eaLnBrk="0" fontAlgn="base" hangingPunct="0">
              <a:spcBef>
                <a:spcPct val="0"/>
              </a:spcBef>
              <a:spcAft>
                <a:spcPct val="0"/>
              </a:spcAft>
              <a:defRPr>
                <a:solidFill>
                  <a:schemeClr val="tx1"/>
                </a:solidFill>
                <a:latin typeface="Arial" charset="0"/>
                <a:cs typeface="Arial" charset="0"/>
              </a:defRPr>
            </a:lvl6pPr>
            <a:lvl7pPr marL="2967049" indent="-228236" eaLnBrk="0" fontAlgn="base" hangingPunct="0">
              <a:spcBef>
                <a:spcPct val="0"/>
              </a:spcBef>
              <a:spcAft>
                <a:spcPct val="0"/>
              </a:spcAft>
              <a:defRPr>
                <a:solidFill>
                  <a:schemeClr val="tx1"/>
                </a:solidFill>
                <a:latin typeface="Arial" charset="0"/>
                <a:cs typeface="Arial" charset="0"/>
              </a:defRPr>
            </a:lvl7pPr>
            <a:lvl8pPr marL="3423517" indent="-228236" eaLnBrk="0" fontAlgn="base" hangingPunct="0">
              <a:spcBef>
                <a:spcPct val="0"/>
              </a:spcBef>
              <a:spcAft>
                <a:spcPct val="0"/>
              </a:spcAft>
              <a:defRPr>
                <a:solidFill>
                  <a:schemeClr val="tx1"/>
                </a:solidFill>
                <a:latin typeface="Arial" charset="0"/>
                <a:cs typeface="Arial" charset="0"/>
              </a:defRPr>
            </a:lvl8pPr>
            <a:lvl9pPr marL="3879986" indent="-228236" eaLnBrk="0" fontAlgn="base" hangingPunct="0">
              <a:spcBef>
                <a:spcPct val="0"/>
              </a:spcBef>
              <a:spcAft>
                <a:spcPct val="0"/>
              </a:spcAft>
              <a:defRPr>
                <a:solidFill>
                  <a:schemeClr val="tx1"/>
                </a:solidFill>
                <a:latin typeface="Arial" charset="0"/>
                <a:cs typeface="Arial" charset="0"/>
              </a:defRPr>
            </a:lvl9pPr>
          </a:lstStyle>
          <a:p>
            <a:pPr eaLnBrk="1" hangingPunct="1"/>
            <a:fld id="{AFBD4167-40C7-4FB2-B7F5-56B78460C9D0}" type="slidenum">
              <a:rPr lang="en-ZA" altLang="zh-CN">
                <a:solidFill>
                  <a:schemeClr val="bg1"/>
                </a:solidFill>
                <a:latin typeface="Verdana" pitchFamily="34" charset="0"/>
              </a:rPr>
              <a:pPr eaLnBrk="1" hangingPunct="1"/>
              <a:t>18</a:t>
            </a:fld>
            <a:endParaRPr lang="en-ZA" altLang="zh-CN">
              <a:solidFill>
                <a:schemeClr val="bg1"/>
              </a:solidFill>
              <a:latin typeface="Verdana" pitchFamily="34" charset="0"/>
            </a:endParaRPr>
          </a:p>
        </p:txBody>
      </p:sp>
    </p:spTree>
    <p:extLst>
      <p:ext uri="{BB962C8B-B14F-4D97-AF65-F5344CB8AC3E}">
        <p14:creationId xmlns:p14="http://schemas.microsoft.com/office/powerpoint/2010/main" val="41930179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ctrTitle"/>
          </p:nvPr>
        </p:nvSpPr>
        <p:spPr>
          <a:xfrm>
            <a:off x="990601" y="4724400"/>
            <a:ext cx="6553200" cy="1524000"/>
          </a:xfrm>
        </p:spPr>
        <p:txBody>
          <a:bodyPr/>
          <a:lstStyle/>
          <a:p>
            <a:pPr algn="ctr" eaLnBrk="1" hangingPunct="1"/>
            <a:r>
              <a:rPr lang="en-US" altLang="zh-CN" sz="1800" dirty="0" smtClean="0">
                <a:solidFill>
                  <a:schemeClr val="tx1"/>
                </a:solidFill>
                <a:latin typeface="+mn-lt"/>
                <a:ea typeface="Arial Unicode MS" pitchFamily="34" charset="-128"/>
                <a:cs typeface="Arial" pitchFamily="34" charset="0"/>
              </a:rPr>
              <a:t>THANKYOU</a:t>
            </a:r>
            <a:endParaRPr lang="en-US" altLang="zh-CN" sz="2000" b="0" dirty="0" smtClean="0">
              <a:latin typeface="+mn-lt"/>
              <a:ea typeface="Arial Unicode MS" pitchFamily="34" charset="-128"/>
              <a:cs typeface="Arial" pitchFamily="34" charset="0"/>
            </a:endParaRPr>
          </a:p>
        </p:txBody>
      </p:sp>
    </p:spTree>
    <p:extLst>
      <p:ext uri="{BB962C8B-B14F-4D97-AF65-F5344CB8AC3E}">
        <p14:creationId xmlns:p14="http://schemas.microsoft.com/office/powerpoint/2010/main" val="24073937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1"/>
          <p:cNvSpPr>
            <a:spLocks noGrp="1"/>
          </p:cNvSpPr>
          <p:nvPr>
            <p:ph type="body" sz="quarter" idx="10"/>
          </p:nvPr>
        </p:nvSpPr>
        <p:spPr/>
        <p:txBody>
          <a:bodyPr>
            <a:normAutofit fontScale="85000" lnSpcReduction="10000"/>
          </a:bodyPr>
          <a:lstStyle/>
          <a:p>
            <a:r>
              <a:rPr lang="en-US" altLang="zh-CN" sz="2400" b="1" dirty="0" smtClean="0">
                <a:solidFill>
                  <a:schemeClr val="tx1"/>
                </a:solidFill>
                <a:latin typeface="Arial" pitchFamily="34" charset="0"/>
                <a:ea typeface="宋体" pitchFamily="2" charset="-122"/>
                <a:cs typeface="Arial" pitchFamily="34" charset="0"/>
              </a:rPr>
              <a:t>Executive Summary – Network performance management</a:t>
            </a:r>
          </a:p>
        </p:txBody>
      </p:sp>
      <p:sp>
        <p:nvSpPr>
          <p:cNvPr id="2" name="Text Placeholder 1"/>
          <p:cNvSpPr>
            <a:spLocks noGrp="1"/>
          </p:cNvSpPr>
          <p:nvPr>
            <p:ph type="body" sz="quarter" idx="11"/>
          </p:nvPr>
        </p:nvSpPr>
        <p:spPr>
          <a:xfrm>
            <a:off x="0" y="914400"/>
            <a:ext cx="9144000" cy="5181600"/>
          </a:xfrm>
        </p:spPr>
        <p:txBody>
          <a:bodyPr/>
          <a:lstStyle/>
          <a:p>
            <a:r>
              <a:rPr lang="en-US" dirty="0" smtClean="0"/>
              <a:t>Mobile communication has been in existence since 1990s in Zambia regulated by CAZ the predecessor of ZICTA.</a:t>
            </a:r>
          </a:p>
          <a:p>
            <a:r>
              <a:rPr lang="en-US" dirty="0" smtClean="0"/>
              <a:t>During this period of CAZ the performance metrics where not monitored and the QOS was basically </a:t>
            </a:r>
            <a:r>
              <a:rPr lang="en-US" dirty="0"/>
              <a:t>a</a:t>
            </a:r>
            <a:r>
              <a:rPr lang="en-US" dirty="0" smtClean="0"/>
              <a:t> preserve of the operator.</a:t>
            </a:r>
          </a:p>
          <a:p>
            <a:endParaRPr lang="en-US" dirty="0"/>
          </a:p>
          <a:p>
            <a:r>
              <a:rPr lang="en-US" dirty="0" smtClean="0"/>
              <a:t>ZICTA introduced QOS measures  that ensures that operators achieved proactively KPIs and they have installed monitoring equipment to achieve this objective.</a:t>
            </a:r>
          </a:p>
          <a:p>
            <a:endParaRPr lang="en-US" dirty="0"/>
          </a:p>
          <a:p>
            <a:r>
              <a:rPr lang="en-US" dirty="0" smtClean="0"/>
              <a:t>MTN Zambia limited has responded positively to this challenge since customer experience is a major objective for the institution and working with ZICTA has helped us to meet this objective seeing the regulator as independent eye for MTN.</a:t>
            </a:r>
            <a:endParaRPr lang="en-US" dirty="0"/>
          </a:p>
        </p:txBody>
      </p:sp>
      <p:sp>
        <p:nvSpPr>
          <p:cNvPr id="12291" name="Slide Number Placeholder 3"/>
          <p:cNvSpPr>
            <a:spLocks noGrp="1"/>
          </p:cNvSpPr>
          <p:nvPr>
            <p:ph type="sldNum" sz="quarter" idx="4294967295"/>
          </p:nvPr>
        </p:nvSpPr>
        <p:spPr bwMode="auto">
          <a:xfrm>
            <a:off x="8715375" y="6470650"/>
            <a:ext cx="42862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1762" indent="-285295" eaLnBrk="0" hangingPunct="0">
              <a:defRPr>
                <a:solidFill>
                  <a:schemeClr val="tx1"/>
                </a:solidFill>
                <a:latin typeface="Arial" charset="0"/>
                <a:cs typeface="Arial" charset="0"/>
              </a:defRPr>
            </a:lvl2pPr>
            <a:lvl3pPr marL="1141172" indent="-228236" eaLnBrk="0" hangingPunct="0">
              <a:defRPr>
                <a:solidFill>
                  <a:schemeClr val="tx1"/>
                </a:solidFill>
                <a:latin typeface="Arial" charset="0"/>
                <a:cs typeface="Arial" charset="0"/>
              </a:defRPr>
            </a:lvl3pPr>
            <a:lvl4pPr marL="1597641" indent="-228236" eaLnBrk="0" hangingPunct="0">
              <a:defRPr>
                <a:solidFill>
                  <a:schemeClr val="tx1"/>
                </a:solidFill>
                <a:latin typeface="Arial" charset="0"/>
                <a:cs typeface="Arial" charset="0"/>
              </a:defRPr>
            </a:lvl4pPr>
            <a:lvl5pPr marL="2054110" indent="-228236" eaLnBrk="0" hangingPunct="0">
              <a:defRPr>
                <a:solidFill>
                  <a:schemeClr val="tx1"/>
                </a:solidFill>
                <a:latin typeface="Arial" charset="0"/>
                <a:cs typeface="Arial" charset="0"/>
              </a:defRPr>
            </a:lvl5pPr>
            <a:lvl6pPr marL="2510578" indent="-228236" eaLnBrk="0" fontAlgn="base" hangingPunct="0">
              <a:spcBef>
                <a:spcPct val="0"/>
              </a:spcBef>
              <a:spcAft>
                <a:spcPct val="0"/>
              </a:spcAft>
              <a:defRPr>
                <a:solidFill>
                  <a:schemeClr val="tx1"/>
                </a:solidFill>
                <a:latin typeface="Arial" charset="0"/>
                <a:cs typeface="Arial" charset="0"/>
              </a:defRPr>
            </a:lvl6pPr>
            <a:lvl7pPr marL="2967049" indent="-228236" eaLnBrk="0" fontAlgn="base" hangingPunct="0">
              <a:spcBef>
                <a:spcPct val="0"/>
              </a:spcBef>
              <a:spcAft>
                <a:spcPct val="0"/>
              </a:spcAft>
              <a:defRPr>
                <a:solidFill>
                  <a:schemeClr val="tx1"/>
                </a:solidFill>
                <a:latin typeface="Arial" charset="0"/>
                <a:cs typeface="Arial" charset="0"/>
              </a:defRPr>
            </a:lvl7pPr>
            <a:lvl8pPr marL="3423517" indent="-228236" eaLnBrk="0" fontAlgn="base" hangingPunct="0">
              <a:spcBef>
                <a:spcPct val="0"/>
              </a:spcBef>
              <a:spcAft>
                <a:spcPct val="0"/>
              </a:spcAft>
              <a:defRPr>
                <a:solidFill>
                  <a:schemeClr val="tx1"/>
                </a:solidFill>
                <a:latin typeface="Arial" charset="0"/>
                <a:cs typeface="Arial" charset="0"/>
              </a:defRPr>
            </a:lvl8pPr>
            <a:lvl9pPr marL="3879986" indent="-228236" eaLnBrk="0" fontAlgn="base" hangingPunct="0">
              <a:spcBef>
                <a:spcPct val="0"/>
              </a:spcBef>
              <a:spcAft>
                <a:spcPct val="0"/>
              </a:spcAft>
              <a:defRPr>
                <a:solidFill>
                  <a:schemeClr val="tx1"/>
                </a:solidFill>
                <a:latin typeface="Arial" charset="0"/>
                <a:cs typeface="Arial" charset="0"/>
              </a:defRPr>
            </a:lvl9pPr>
          </a:lstStyle>
          <a:p>
            <a:pPr eaLnBrk="1" hangingPunct="1"/>
            <a:fld id="{AFBD4167-40C7-4FB2-B7F5-56B78460C9D0}" type="slidenum">
              <a:rPr lang="en-ZA" altLang="zh-CN">
                <a:solidFill>
                  <a:schemeClr val="bg1"/>
                </a:solidFill>
                <a:latin typeface="Verdana" pitchFamily="34" charset="0"/>
              </a:rPr>
              <a:pPr eaLnBrk="1" hangingPunct="1"/>
              <a:t>2</a:t>
            </a:fld>
            <a:endParaRPr lang="en-ZA" altLang="zh-CN">
              <a:solidFill>
                <a:schemeClr val="bg1"/>
              </a:solidFill>
              <a:latin typeface="Verdana" pitchFamily="34" charset="0"/>
            </a:endParaRPr>
          </a:p>
        </p:txBody>
      </p:sp>
    </p:spTree>
    <p:extLst>
      <p:ext uri="{BB962C8B-B14F-4D97-AF65-F5344CB8AC3E}">
        <p14:creationId xmlns:p14="http://schemas.microsoft.com/office/powerpoint/2010/main" val="6168104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1"/>
          <p:cNvSpPr>
            <a:spLocks noGrp="1"/>
          </p:cNvSpPr>
          <p:nvPr>
            <p:ph type="body" sz="quarter" idx="10"/>
          </p:nvPr>
        </p:nvSpPr>
        <p:spPr/>
        <p:txBody>
          <a:bodyPr>
            <a:normAutofit/>
          </a:bodyPr>
          <a:lstStyle/>
          <a:p>
            <a:r>
              <a:rPr lang="en-US" altLang="zh-CN" sz="2400" b="1" dirty="0" smtClean="0">
                <a:solidFill>
                  <a:schemeClr val="tx1"/>
                </a:solidFill>
                <a:latin typeface="Arial" pitchFamily="34" charset="0"/>
                <a:ea typeface="宋体" pitchFamily="2" charset="-122"/>
                <a:cs typeface="Arial" pitchFamily="34" charset="0"/>
              </a:rPr>
              <a:t>Challenges in service provision</a:t>
            </a:r>
          </a:p>
        </p:txBody>
      </p:sp>
      <p:sp>
        <p:nvSpPr>
          <p:cNvPr id="2" name="Text Placeholder 1"/>
          <p:cNvSpPr>
            <a:spLocks noGrp="1"/>
          </p:cNvSpPr>
          <p:nvPr>
            <p:ph type="body" sz="quarter" idx="11"/>
          </p:nvPr>
        </p:nvSpPr>
        <p:spPr/>
        <p:txBody>
          <a:bodyPr/>
          <a:lstStyle/>
          <a:p>
            <a:pPr marL="0" lvl="1" indent="0">
              <a:spcBef>
                <a:spcPts val="600"/>
              </a:spcBef>
              <a:buClr>
                <a:schemeClr val="accent1"/>
              </a:buClr>
              <a:buNone/>
              <a:defRPr/>
            </a:pPr>
            <a:r>
              <a:rPr lang="en-US" sz="2000" dirty="0"/>
              <a:t>The major </a:t>
            </a:r>
            <a:r>
              <a:rPr lang="en-US" sz="2000" dirty="0" smtClean="0"/>
              <a:t>challenges for degraded service;</a:t>
            </a:r>
            <a:endParaRPr lang="en-US" sz="2000" dirty="0"/>
          </a:p>
          <a:p>
            <a:pPr marL="311012" lvl="1" indent="-228600">
              <a:spcBef>
                <a:spcPts val="600"/>
              </a:spcBef>
              <a:buClr>
                <a:schemeClr val="accent1"/>
              </a:buClr>
              <a:buFont typeface="+mj-lt"/>
              <a:buAutoNum type="arabicPeriod"/>
              <a:defRPr/>
            </a:pPr>
            <a:r>
              <a:rPr lang="en-US" sz="2000" dirty="0" smtClean="0"/>
              <a:t> Backup battery and fuel thefts</a:t>
            </a:r>
            <a:endParaRPr lang="en-US" sz="2000" dirty="0"/>
          </a:p>
          <a:p>
            <a:pPr marL="311012" lvl="1" indent="-228600">
              <a:spcBef>
                <a:spcPts val="600"/>
              </a:spcBef>
              <a:buClr>
                <a:schemeClr val="accent1"/>
              </a:buClr>
              <a:buFont typeface="+mj-lt"/>
              <a:buAutoNum type="arabicPeriod"/>
              <a:defRPr/>
            </a:pPr>
            <a:r>
              <a:rPr lang="en-US" sz="2000" dirty="0" smtClean="0"/>
              <a:t> Grid </a:t>
            </a:r>
            <a:r>
              <a:rPr lang="en-US" sz="2000" dirty="0"/>
              <a:t>Availability</a:t>
            </a:r>
          </a:p>
          <a:p>
            <a:pPr marL="311012" lvl="1" indent="-228600">
              <a:spcBef>
                <a:spcPts val="600"/>
              </a:spcBef>
              <a:buClr>
                <a:schemeClr val="accent1"/>
              </a:buClr>
              <a:buFont typeface="+mj-lt"/>
              <a:buAutoNum type="arabicPeriod"/>
              <a:defRPr/>
            </a:pPr>
            <a:r>
              <a:rPr lang="en-US" sz="2000" dirty="0" smtClean="0"/>
              <a:t> Road </a:t>
            </a:r>
            <a:r>
              <a:rPr lang="en-US" sz="2000" dirty="0"/>
              <a:t>construction impacting underground fiber</a:t>
            </a:r>
          </a:p>
          <a:p>
            <a:pPr marL="311012" lvl="1" indent="-228600">
              <a:spcBef>
                <a:spcPts val="600"/>
              </a:spcBef>
              <a:buClr>
                <a:schemeClr val="accent1"/>
              </a:buClr>
              <a:buFont typeface="+mj-lt"/>
              <a:buAutoNum type="arabicPeriod"/>
              <a:defRPr/>
            </a:pPr>
            <a:r>
              <a:rPr lang="en-US" sz="2000" dirty="0" smtClean="0"/>
              <a:t> Power </a:t>
            </a:r>
            <a:r>
              <a:rPr lang="en-US" sz="2000" dirty="0"/>
              <a:t>outage impacting </a:t>
            </a:r>
            <a:r>
              <a:rPr lang="en-US" sz="2000" dirty="0" smtClean="0"/>
              <a:t>leased fiber from Zesco </a:t>
            </a:r>
            <a:endParaRPr lang="en-US" sz="2000" dirty="0"/>
          </a:p>
          <a:p>
            <a:pPr marL="0" indent="0">
              <a:buNone/>
            </a:pPr>
            <a:endParaRPr lang="en-US" sz="2400" dirty="0"/>
          </a:p>
        </p:txBody>
      </p:sp>
      <p:sp>
        <p:nvSpPr>
          <p:cNvPr id="12291" name="Slide Number Placeholder 3"/>
          <p:cNvSpPr>
            <a:spLocks noGrp="1"/>
          </p:cNvSpPr>
          <p:nvPr>
            <p:ph type="sldNum" sz="quarter" idx="4294967295"/>
          </p:nvPr>
        </p:nvSpPr>
        <p:spPr bwMode="auto">
          <a:xfrm>
            <a:off x="8715375" y="6470650"/>
            <a:ext cx="42862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1762" indent="-285295" eaLnBrk="0" hangingPunct="0">
              <a:defRPr>
                <a:solidFill>
                  <a:schemeClr val="tx1"/>
                </a:solidFill>
                <a:latin typeface="Arial" charset="0"/>
                <a:cs typeface="Arial" charset="0"/>
              </a:defRPr>
            </a:lvl2pPr>
            <a:lvl3pPr marL="1141172" indent="-228236" eaLnBrk="0" hangingPunct="0">
              <a:defRPr>
                <a:solidFill>
                  <a:schemeClr val="tx1"/>
                </a:solidFill>
                <a:latin typeface="Arial" charset="0"/>
                <a:cs typeface="Arial" charset="0"/>
              </a:defRPr>
            </a:lvl3pPr>
            <a:lvl4pPr marL="1597641" indent="-228236" eaLnBrk="0" hangingPunct="0">
              <a:defRPr>
                <a:solidFill>
                  <a:schemeClr val="tx1"/>
                </a:solidFill>
                <a:latin typeface="Arial" charset="0"/>
                <a:cs typeface="Arial" charset="0"/>
              </a:defRPr>
            </a:lvl4pPr>
            <a:lvl5pPr marL="2054110" indent="-228236" eaLnBrk="0" hangingPunct="0">
              <a:defRPr>
                <a:solidFill>
                  <a:schemeClr val="tx1"/>
                </a:solidFill>
                <a:latin typeface="Arial" charset="0"/>
                <a:cs typeface="Arial" charset="0"/>
              </a:defRPr>
            </a:lvl5pPr>
            <a:lvl6pPr marL="2510578" indent="-228236" eaLnBrk="0" fontAlgn="base" hangingPunct="0">
              <a:spcBef>
                <a:spcPct val="0"/>
              </a:spcBef>
              <a:spcAft>
                <a:spcPct val="0"/>
              </a:spcAft>
              <a:defRPr>
                <a:solidFill>
                  <a:schemeClr val="tx1"/>
                </a:solidFill>
                <a:latin typeface="Arial" charset="0"/>
                <a:cs typeface="Arial" charset="0"/>
              </a:defRPr>
            </a:lvl6pPr>
            <a:lvl7pPr marL="2967049" indent="-228236" eaLnBrk="0" fontAlgn="base" hangingPunct="0">
              <a:spcBef>
                <a:spcPct val="0"/>
              </a:spcBef>
              <a:spcAft>
                <a:spcPct val="0"/>
              </a:spcAft>
              <a:defRPr>
                <a:solidFill>
                  <a:schemeClr val="tx1"/>
                </a:solidFill>
                <a:latin typeface="Arial" charset="0"/>
                <a:cs typeface="Arial" charset="0"/>
              </a:defRPr>
            </a:lvl7pPr>
            <a:lvl8pPr marL="3423517" indent="-228236" eaLnBrk="0" fontAlgn="base" hangingPunct="0">
              <a:spcBef>
                <a:spcPct val="0"/>
              </a:spcBef>
              <a:spcAft>
                <a:spcPct val="0"/>
              </a:spcAft>
              <a:defRPr>
                <a:solidFill>
                  <a:schemeClr val="tx1"/>
                </a:solidFill>
                <a:latin typeface="Arial" charset="0"/>
                <a:cs typeface="Arial" charset="0"/>
              </a:defRPr>
            </a:lvl8pPr>
            <a:lvl9pPr marL="3879986" indent="-228236" eaLnBrk="0" fontAlgn="base" hangingPunct="0">
              <a:spcBef>
                <a:spcPct val="0"/>
              </a:spcBef>
              <a:spcAft>
                <a:spcPct val="0"/>
              </a:spcAft>
              <a:defRPr>
                <a:solidFill>
                  <a:schemeClr val="tx1"/>
                </a:solidFill>
                <a:latin typeface="Arial" charset="0"/>
                <a:cs typeface="Arial" charset="0"/>
              </a:defRPr>
            </a:lvl9pPr>
          </a:lstStyle>
          <a:p>
            <a:pPr eaLnBrk="1" hangingPunct="1"/>
            <a:fld id="{AFBD4167-40C7-4FB2-B7F5-56B78460C9D0}" type="slidenum">
              <a:rPr lang="en-ZA" altLang="zh-CN">
                <a:solidFill>
                  <a:schemeClr val="bg1"/>
                </a:solidFill>
                <a:latin typeface="Verdana" pitchFamily="34" charset="0"/>
              </a:rPr>
              <a:pPr eaLnBrk="1" hangingPunct="1"/>
              <a:t>3</a:t>
            </a:fld>
            <a:endParaRPr lang="en-ZA" altLang="zh-CN">
              <a:solidFill>
                <a:schemeClr val="bg1"/>
              </a:solidFill>
              <a:latin typeface="Verdana" pitchFamily="34" charset="0"/>
            </a:endParaRPr>
          </a:p>
        </p:txBody>
      </p:sp>
    </p:spTree>
    <p:extLst>
      <p:ext uri="{BB962C8B-B14F-4D97-AF65-F5344CB8AC3E}">
        <p14:creationId xmlns:p14="http://schemas.microsoft.com/office/powerpoint/2010/main" val="32528783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1"/>
          <p:cNvSpPr>
            <a:spLocks noGrp="1"/>
          </p:cNvSpPr>
          <p:nvPr>
            <p:ph type="body" sz="quarter" idx="10"/>
          </p:nvPr>
        </p:nvSpPr>
        <p:spPr/>
        <p:txBody>
          <a:bodyPr>
            <a:normAutofit/>
          </a:bodyPr>
          <a:lstStyle/>
          <a:p>
            <a:r>
              <a:rPr lang="en-US" altLang="zh-CN" sz="2400" b="1" dirty="0" smtClean="0">
                <a:solidFill>
                  <a:schemeClr val="tx1"/>
                </a:solidFill>
                <a:latin typeface="Arial" pitchFamily="34" charset="0"/>
                <a:ea typeface="宋体" pitchFamily="2" charset="-122"/>
                <a:cs typeface="Arial" pitchFamily="34" charset="0"/>
              </a:rPr>
              <a:t>Highlights</a:t>
            </a:r>
          </a:p>
        </p:txBody>
      </p:sp>
      <p:sp>
        <p:nvSpPr>
          <p:cNvPr id="2" name="Text Placeholder 1"/>
          <p:cNvSpPr>
            <a:spLocks noGrp="1"/>
          </p:cNvSpPr>
          <p:nvPr>
            <p:ph type="body" sz="quarter" idx="11"/>
          </p:nvPr>
        </p:nvSpPr>
        <p:spPr>
          <a:xfrm>
            <a:off x="0" y="914400"/>
            <a:ext cx="9144000" cy="5514996"/>
          </a:xfrm>
        </p:spPr>
        <p:txBody>
          <a:bodyPr/>
          <a:lstStyle/>
          <a:p>
            <a:r>
              <a:rPr lang="en-US" dirty="0" smtClean="0"/>
              <a:t>In order to ensure that we maintain the high network availability despite power challenges we quickly offloaded the passive network to a tower company whose only responsibility is ensure that we have power 24/7.</a:t>
            </a:r>
          </a:p>
          <a:p>
            <a:endParaRPr lang="en-US" dirty="0"/>
          </a:p>
          <a:p>
            <a:r>
              <a:rPr lang="en-US" dirty="0" smtClean="0"/>
              <a:t>Invested in network optimization tools and outsourced the operations of the network so that we can provide oversight on network KPIs so that we have two layered service delivery i.e. within MTN and the managed service vendor.</a:t>
            </a:r>
          </a:p>
          <a:p>
            <a:endParaRPr lang="en-US" dirty="0"/>
          </a:p>
          <a:p>
            <a:r>
              <a:rPr lang="en-US" dirty="0" smtClean="0"/>
              <a:t>Independent benchmarking are carried out periodically to monitor QOS not only locally but with the best in industry.</a:t>
            </a:r>
            <a:endParaRPr lang="en-US" dirty="0"/>
          </a:p>
        </p:txBody>
      </p:sp>
      <p:sp>
        <p:nvSpPr>
          <p:cNvPr id="12291" name="Slide Number Placeholder 3"/>
          <p:cNvSpPr>
            <a:spLocks noGrp="1"/>
          </p:cNvSpPr>
          <p:nvPr>
            <p:ph type="sldNum" sz="quarter" idx="4294967295"/>
          </p:nvPr>
        </p:nvSpPr>
        <p:spPr bwMode="auto">
          <a:xfrm>
            <a:off x="8715375" y="6470650"/>
            <a:ext cx="42862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1762" indent="-285295" eaLnBrk="0" hangingPunct="0">
              <a:defRPr>
                <a:solidFill>
                  <a:schemeClr val="tx1"/>
                </a:solidFill>
                <a:latin typeface="Arial" charset="0"/>
                <a:cs typeface="Arial" charset="0"/>
              </a:defRPr>
            </a:lvl2pPr>
            <a:lvl3pPr marL="1141172" indent="-228236" eaLnBrk="0" hangingPunct="0">
              <a:defRPr>
                <a:solidFill>
                  <a:schemeClr val="tx1"/>
                </a:solidFill>
                <a:latin typeface="Arial" charset="0"/>
                <a:cs typeface="Arial" charset="0"/>
              </a:defRPr>
            </a:lvl3pPr>
            <a:lvl4pPr marL="1597641" indent="-228236" eaLnBrk="0" hangingPunct="0">
              <a:defRPr>
                <a:solidFill>
                  <a:schemeClr val="tx1"/>
                </a:solidFill>
                <a:latin typeface="Arial" charset="0"/>
                <a:cs typeface="Arial" charset="0"/>
              </a:defRPr>
            </a:lvl4pPr>
            <a:lvl5pPr marL="2054110" indent="-228236" eaLnBrk="0" hangingPunct="0">
              <a:defRPr>
                <a:solidFill>
                  <a:schemeClr val="tx1"/>
                </a:solidFill>
                <a:latin typeface="Arial" charset="0"/>
                <a:cs typeface="Arial" charset="0"/>
              </a:defRPr>
            </a:lvl5pPr>
            <a:lvl6pPr marL="2510578" indent="-228236" eaLnBrk="0" fontAlgn="base" hangingPunct="0">
              <a:spcBef>
                <a:spcPct val="0"/>
              </a:spcBef>
              <a:spcAft>
                <a:spcPct val="0"/>
              </a:spcAft>
              <a:defRPr>
                <a:solidFill>
                  <a:schemeClr val="tx1"/>
                </a:solidFill>
                <a:latin typeface="Arial" charset="0"/>
                <a:cs typeface="Arial" charset="0"/>
              </a:defRPr>
            </a:lvl6pPr>
            <a:lvl7pPr marL="2967049" indent="-228236" eaLnBrk="0" fontAlgn="base" hangingPunct="0">
              <a:spcBef>
                <a:spcPct val="0"/>
              </a:spcBef>
              <a:spcAft>
                <a:spcPct val="0"/>
              </a:spcAft>
              <a:defRPr>
                <a:solidFill>
                  <a:schemeClr val="tx1"/>
                </a:solidFill>
                <a:latin typeface="Arial" charset="0"/>
                <a:cs typeface="Arial" charset="0"/>
              </a:defRPr>
            </a:lvl7pPr>
            <a:lvl8pPr marL="3423517" indent="-228236" eaLnBrk="0" fontAlgn="base" hangingPunct="0">
              <a:spcBef>
                <a:spcPct val="0"/>
              </a:spcBef>
              <a:spcAft>
                <a:spcPct val="0"/>
              </a:spcAft>
              <a:defRPr>
                <a:solidFill>
                  <a:schemeClr val="tx1"/>
                </a:solidFill>
                <a:latin typeface="Arial" charset="0"/>
                <a:cs typeface="Arial" charset="0"/>
              </a:defRPr>
            </a:lvl8pPr>
            <a:lvl9pPr marL="3879986" indent="-228236" eaLnBrk="0" fontAlgn="base" hangingPunct="0">
              <a:spcBef>
                <a:spcPct val="0"/>
              </a:spcBef>
              <a:spcAft>
                <a:spcPct val="0"/>
              </a:spcAft>
              <a:defRPr>
                <a:solidFill>
                  <a:schemeClr val="tx1"/>
                </a:solidFill>
                <a:latin typeface="Arial" charset="0"/>
                <a:cs typeface="Arial" charset="0"/>
              </a:defRPr>
            </a:lvl9pPr>
          </a:lstStyle>
          <a:p>
            <a:pPr eaLnBrk="1" hangingPunct="1"/>
            <a:fld id="{AFBD4167-40C7-4FB2-B7F5-56B78460C9D0}" type="slidenum">
              <a:rPr lang="en-ZA" altLang="zh-CN">
                <a:solidFill>
                  <a:schemeClr val="bg1"/>
                </a:solidFill>
                <a:latin typeface="Verdana" pitchFamily="34" charset="0"/>
              </a:rPr>
              <a:pPr eaLnBrk="1" hangingPunct="1"/>
              <a:t>4</a:t>
            </a:fld>
            <a:endParaRPr lang="en-ZA" altLang="zh-CN">
              <a:solidFill>
                <a:schemeClr val="bg1"/>
              </a:solidFill>
              <a:latin typeface="Verdana"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417638"/>
          </a:xfrm>
          <a:solidFill>
            <a:srgbClr val="FFC000"/>
          </a:solidFill>
        </p:spPr>
        <p:txBody>
          <a:bodyPr/>
          <a:lstStyle/>
          <a:p>
            <a:r>
              <a:rPr lang="en-US" sz="2400" dirty="0" smtClean="0"/>
              <a:t>IHS-MTN</a:t>
            </a:r>
            <a:r>
              <a:rPr lang="en-US" sz="2800" dirty="0" smtClean="0"/>
              <a:t> Network Availability per Day</a:t>
            </a:r>
            <a:endParaRPr lang="en-US" sz="2800" dirty="0"/>
          </a:p>
        </p:txBody>
      </p:sp>
      <p:sp>
        <p:nvSpPr>
          <p:cNvPr id="4" name="Content Placeholder 3"/>
          <p:cNvSpPr>
            <a:spLocks noGrp="1"/>
          </p:cNvSpPr>
          <p:nvPr>
            <p:ph idx="1"/>
          </p:nvPr>
        </p:nvSpPr>
        <p:spPr>
          <a:xfrm>
            <a:off x="694412" y="1410716"/>
            <a:ext cx="8074307" cy="4538564"/>
          </a:xfrm>
        </p:spPr>
        <p:txBody>
          <a:bodyPr/>
          <a:lstStyle/>
          <a:p>
            <a:r>
              <a:rPr lang="en-US" sz="1600" dirty="0" smtClean="0"/>
              <a:t>Very fast improvement in the availability in the first month after closing</a:t>
            </a:r>
            <a:endParaRPr lang="en-US" sz="1600" dirty="0"/>
          </a:p>
        </p:txBody>
      </p:sp>
      <p:graphicFrame>
        <p:nvGraphicFramePr>
          <p:cNvPr id="5" name="Chart 4"/>
          <p:cNvGraphicFramePr>
            <a:graphicFrameLocks/>
          </p:cNvGraphicFramePr>
          <p:nvPr>
            <p:extLst>
              <p:ext uri="{D42A27DB-BD31-4B8C-83A1-F6EECF244321}">
                <p14:modId xmlns:p14="http://schemas.microsoft.com/office/powerpoint/2010/main" val="1097978041"/>
              </p:ext>
            </p:extLst>
          </p:nvPr>
        </p:nvGraphicFramePr>
        <p:xfrm>
          <a:off x="0" y="2057400"/>
          <a:ext cx="9144000" cy="4800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5072738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文本占位符 1"/>
          <p:cNvSpPr>
            <a:spLocks noGrp="1"/>
          </p:cNvSpPr>
          <p:nvPr>
            <p:ph type="body" sz="quarter" idx="10"/>
          </p:nvPr>
        </p:nvSpPr>
        <p:spPr>
          <a:xfrm>
            <a:off x="0" y="214313"/>
            <a:ext cx="7715250" cy="571500"/>
          </a:xfrm>
        </p:spPr>
        <p:txBody>
          <a:bodyPr>
            <a:normAutofit/>
          </a:bodyPr>
          <a:lstStyle/>
          <a:p>
            <a:pPr>
              <a:defRPr/>
            </a:pPr>
            <a:r>
              <a:rPr lang="en-GB" altLang="zh-CN" sz="2400" dirty="0" smtClean="0"/>
              <a:t>TCH Availability - December 2015</a:t>
            </a:r>
            <a:endParaRPr lang="zh-CN" altLang="en-US" sz="2400" dirty="0" smtClean="0"/>
          </a:p>
        </p:txBody>
      </p:sp>
      <p:sp>
        <p:nvSpPr>
          <p:cNvPr id="33796" name="灯片编号占位符 3"/>
          <p:cNvSpPr>
            <a:spLocks noGrp="1"/>
          </p:cNvSpPr>
          <p:nvPr>
            <p:ph type="sldNum" sz="quarter" idx="12"/>
          </p:nvPr>
        </p:nvSpPr>
        <p:spPr bwMode="auto">
          <a:noFill/>
          <a:ln>
            <a:miter lim="800000"/>
            <a:headEnd/>
            <a:tailEnd/>
          </a:ln>
        </p:spPr>
        <p:txBody>
          <a:bodyPr/>
          <a:lstStyle/>
          <a:p>
            <a:fld id="{BE38122E-84DA-4C1A-AF2E-3D336023920B}" type="slidenum">
              <a:rPr lang="en-ZA" altLang="zh-CN" smtClean="0">
                <a:solidFill>
                  <a:prstClr val="white"/>
                </a:solidFill>
              </a:rPr>
              <a:pPr/>
              <a:t>6</a:t>
            </a:fld>
            <a:endParaRPr lang="en-ZA" altLang="zh-CN" smtClean="0">
              <a:solidFill>
                <a:prstClr val="white"/>
              </a:solidFill>
            </a:endParaRPr>
          </a:p>
        </p:txBody>
      </p:sp>
      <p:sp>
        <p:nvSpPr>
          <p:cNvPr id="8" name="TextBox 7"/>
          <p:cNvSpPr txBox="1"/>
          <p:nvPr/>
        </p:nvSpPr>
        <p:spPr>
          <a:xfrm>
            <a:off x="0" y="3962400"/>
            <a:ext cx="3200400" cy="2616101"/>
          </a:xfrm>
          <a:prstGeom prst="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200" dirty="0" smtClean="0">
                <a:solidFill>
                  <a:srgbClr val="272727"/>
                </a:solidFill>
              </a:rPr>
              <a:t>7th Dec 2015</a:t>
            </a:r>
          </a:p>
          <a:p>
            <a:pPr algn="ctr"/>
            <a:endParaRPr lang="en-US" sz="800" dirty="0" smtClean="0">
              <a:solidFill>
                <a:srgbClr val="272727"/>
              </a:solidFill>
            </a:endParaRPr>
          </a:p>
          <a:p>
            <a:pPr>
              <a:buFont typeface="Wingdings" pitchFamily="2" charset="2"/>
              <a:buChar char="Ø"/>
            </a:pPr>
            <a:r>
              <a:rPr lang="en-US" sz="1400" dirty="0" smtClean="0">
                <a:solidFill>
                  <a:srgbClr val="000000"/>
                </a:solidFill>
                <a:latin typeface="Calibri"/>
                <a:cs typeface="Calibri" pitchFamily="34" charset="0"/>
              </a:rPr>
              <a:t>Fiber failure between Chililabombwe OSN and Kabundi OSN which impacted 14 BTS sites. Duet to the vandalized fiber Outage duration: 2hrs</a:t>
            </a:r>
            <a:endParaRPr lang="en-US" sz="10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16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p:txBody>
      </p:sp>
      <p:sp>
        <p:nvSpPr>
          <p:cNvPr id="9" name="TextBox 8"/>
          <p:cNvSpPr txBox="1"/>
          <p:nvPr/>
        </p:nvSpPr>
        <p:spPr>
          <a:xfrm>
            <a:off x="3200400" y="3962400"/>
            <a:ext cx="3048000" cy="2400657"/>
          </a:xfrm>
          <a:prstGeom prst="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200" dirty="0" smtClean="0">
                <a:solidFill>
                  <a:srgbClr val="272727"/>
                </a:solidFill>
              </a:rPr>
              <a:t>11th / 12th Dec 2015</a:t>
            </a:r>
          </a:p>
          <a:p>
            <a:pPr algn="ctr"/>
            <a:endParaRPr lang="en-US" sz="800" dirty="0" smtClean="0">
              <a:solidFill>
                <a:srgbClr val="272727"/>
              </a:solidFill>
            </a:endParaRPr>
          </a:p>
          <a:p>
            <a:pPr>
              <a:buFont typeface="Wingdings" pitchFamily="2" charset="2"/>
              <a:buChar char="Ø"/>
            </a:pPr>
            <a:r>
              <a:rPr lang="en-US" sz="1400" dirty="0" smtClean="0">
                <a:solidFill>
                  <a:srgbClr val="000000"/>
                </a:solidFill>
                <a:latin typeface="Calibri"/>
                <a:cs typeface="Calibri" pitchFamily="34" charset="0"/>
              </a:rPr>
              <a:t>All provinces affected by the national wide power blackout.</a:t>
            </a: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800" dirty="0" smtClean="0">
              <a:solidFill>
                <a:srgbClr val="000000"/>
              </a:solidFill>
              <a:latin typeface="Calibri"/>
              <a:cs typeface="Calibri" pitchFamily="34" charset="0"/>
            </a:endParaRPr>
          </a:p>
          <a:p>
            <a:pPr>
              <a:buFont typeface="Wingdings" pitchFamily="2" charset="2"/>
              <a:buChar char="Ø"/>
            </a:pPr>
            <a:endParaRPr lang="en-US" sz="1400" dirty="0" smtClean="0">
              <a:solidFill>
                <a:srgbClr val="000000"/>
              </a:solidFill>
              <a:latin typeface="Calibri"/>
              <a:cs typeface="Calibri" pitchFamily="34" charset="0"/>
            </a:endParaRPr>
          </a:p>
        </p:txBody>
      </p:sp>
      <p:sp>
        <p:nvSpPr>
          <p:cNvPr id="10" name="TextBox 9"/>
          <p:cNvSpPr txBox="1"/>
          <p:nvPr/>
        </p:nvSpPr>
        <p:spPr>
          <a:xfrm>
            <a:off x="6248400" y="3962401"/>
            <a:ext cx="2895600" cy="2339102"/>
          </a:xfrm>
          <a:prstGeom prst="rect">
            <a:avLst/>
          </a:prstGeom>
          <a:ln>
            <a:solidFill>
              <a:srgbClr val="FFC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200" dirty="0" smtClean="0">
                <a:solidFill>
                  <a:srgbClr val="272727"/>
                </a:solidFill>
              </a:rPr>
              <a:t>22</a:t>
            </a:r>
            <a:r>
              <a:rPr lang="en-US" sz="1200" baseline="30000" dirty="0" smtClean="0">
                <a:solidFill>
                  <a:srgbClr val="272727"/>
                </a:solidFill>
              </a:rPr>
              <a:t>nd</a:t>
            </a:r>
            <a:r>
              <a:rPr lang="en-US" sz="1200" dirty="0" smtClean="0">
                <a:solidFill>
                  <a:srgbClr val="272727"/>
                </a:solidFill>
              </a:rPr>
              <a:t> / 23</a:t>
            </a:r>
            <a:r>
              <a:rPr lang="en-US" sz="1200" baseline="30000" dirty="0" smtClean="0">
                <a:solidFill>
                  <a:srgbClr val="272727"/>
                </a:solidFill>
              </a:rPr>
              <a:t>rd</a:t>
            </a:r>
            <a:r>
              <a:rPr lang="en-US" sz="1200" dirty="0" smtClean="0">
                <a:solidFill>
                  <a:srgbClr val="272727"/>
                </a:solidFill>
              </a:rPr>
              <a:t> Dec 2015</a:t>
            </a:r>
          </a:p>
          <a:p>
            <a:pPr algn="ctr"/>
            <a:endParaRPr lang="en-US" sz="800" dirty="0" smtClean="0">
              <a:solidFill>
                <a:srgbClr val="272727"/>
              </a:solidFill>
            </a:endParaRPr>
          </a:p>
          <a:p>
            <a:pPr>
              <a:buFont typeface="Wingdings" pitchFamily="2" charset="2"/>
              <a:buChar char="Ø"/>
            </a:pPr>
            <a:r>
              <a:rPr lang="en-US" sz="1400" dirty="0" smtClean="0">
                <a:solidFill>
                  <a:srgbClr val="000000"/>
                </a:solidFill>
                <a:latin typeface="Calibri"/>
                <a:cs typeface="Calibri" pitchFamily="34" charset="0"/>
              </a:rPr>
              <a:t>All provinces affected by the national wide power blackout except Southern Province.</a:t>
            </a:r>
          </a:p>
          <a:p>
            <a:pPr>
              <a:buFont typeface="Wingdings" pitchFamily="2" charset="2"/>
              <a:buChar char="Ø"/>
            </a:pPr>
            <a:r>
              <a:rPr lang="en-US" sz="1400" dirty="0" smtClean="0">
                <a:solidFill>
                  <a:srgbClr val="000000"/>
                </a:solidFill>
                <a:latin typeface="Calibri"/>
                <a:cs typeface="Calibri" pitchFamily="34" charset="0"/>
              </a:rPr>
              <a:t>KSM BSC failure-187 sites impacted. Zesco Fiber protection Route / Microwave Backbone were impacted that National Power blackout Outage duration: 2hrs 50min</a:t>
            </a:r>
          </a:p>
        </p:txBody>
      </p:sp>
      <p:graphicFrame>
        <p:nvGraphicFramePr>
          <p:cNvPr id="11" name="Chart 10"/>
          <p:cNvGraphicFramePr>
            <a:graphicFrameLocks/>
          </p:cNvGraphicFramePr>
          <p:nvPr/>
        </p:nvGraphicFramePr>
        <p:xfrm>
          <a:off x="0" y="990601"/>
          <a:ext cx="9144000" cy="2819399"/>
        </p:xfrm>
        <a:graphic>
          <a:graphicData uri="http://schemas.openxmlformats.org/drawingml/2006/chart">
            <c:chart xmlns:c="http://schemas.openxmlformats.org/drawingml/2006/chart" xmlns:r="http://schemas.openxmlformats.org/officeDocument/2006/relationships" r:id="rId2"/>
          </a:graphicData>
        </a:graphic>
      </p:graphicFrame>
      <p:cxnSp>
        <p:nvCxnSpPr>
          <p:cNvPr id="17" name="Straight Connector 16"/>
          <p:cNvCxnSpPr>
            <a:stCxn id="8" idx="0"/>
          </p:cNvCxnSpPr>
          <p:nvPr/>
        </p:nvCxnSpPr>
        <p:spPr>
          <a:xfrm flipV="1">
            <a:off x="1600200" y="2438400"/>
            <a:ext cx="914400" cy="152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9" idx="0"/>
          </p:cNvCxnSpPr>
          <p:nvPr/>
        </p:nvCxnSpPr>
        <p:spPr>
          <a:xfrm flipH="1" flipV="1">
            <a:off x="3962400" y="3124200"/>
            <a:ext cx="762000" cy="838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477000" y="1905000"/>
            <a:ext cx="1219200" cy="609600"/>
          </a:xfrm>
          <a:prstGeom prst="ellipse">
            <a:avLst/>
          </a:prstGeom>
          <a:solidFill>
            <a:srgbClr val="272727">
              <a:alpha val="0"/>
            </a:srgbClr>
          </a:solidFill>
          <a:ln w="25400" cap="flat" cmpd="sng" algn="ctr">
            <a:solidFill>
              <a:srgbClr val="272727"/>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a:solidFill>
                <a:prstClr val="white"/>
              </a:solidFill>
            </a:endParaRPr>
          </a:p>
        </p:txBody>
      </p:sp>
      <p:cxnSp>
        <p:nvCxnSpPr>
          <p:cNvPr id="25" name="Straight Connector 24"/>
          <p:cNvCxnSpPr>
            <a:stCxn id="23" idx="4"/>
            <a:endCxn id="10" idx="0"/>
          </p:cNvCxnSpPr>
          <p:nvPr/>
        </p:nvCxnSpPr>
        <p:spPr>
          <a:xfrm>
            <a:off x="7086600" y="2514600"/>
            <a:ext cx="609600" cy="14478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901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2G&amp;3G COVERAGE</a:t>
            </a:r>
          </a:p>
        </p:txBody>
      </p:sp>
      <p:sp>
        <p:nvSpPr>
          <p:cNvPr id="5" name="TextBox 4"/>
          <p:cNvSpPr txBox="1"/>
          <p:nvPr/>
        </p:nvSpPr>
        <p:spPr>
          <a:xfrm>
            <a:off x="6168021" y="1395527"/>
            <a:ext cx="2726537" cy="1061937"/>
          </a:xfrm>
          <a:prstGeom prst="rect">
            <a:avLst/>
          </a:prstGeom>
          <a:noFill/>
        </p:spPr>
        <p:txBody>
          <a:bodyPr wrap="square" lIns="33232" tIns="33232" rIns="33232" bIns="33232" rtlCol="0" anchor="ctr" anchorCtr="0">
            <a:spAutoFit/>
          </a:bodyPr>
          <a:lstStyle/>
          <a:p>
            <a:pPr defTabSz="421558" fontAlgn="auto">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All towns generally measured good 2G coverage samples (</a:t>
            </a:r>
            <a:r>
              <a:rPr lang="en-US" altLang="zh-CN" sz="1293" dirty="0" err="1">
                <a:solidFill>
                  <a:srgbClr val="000000"/>
                </a:solidFill>
                <a:latin typeface="+mn-lt"/>
                <a:ea typeface="宋体"/>
                <a:cs typeface="Calibri" pitchFamily="34" charset="0"/>
              </a:rPr>
              <a:t>Rxlev</a:t>
            </a:r>
            <a:r>
              <a:rPr lang="en-US" altLang="zh-CN" sz="1293" dirty="0">
                <a:solidFill>
                  <a:srgbClr val="000000"/>
                </a:solidFill>
                <a:latin typeface="+mn-lt"/>
                <a:ea typeface="宋体"/>
                <a:cs typeface="Calibri" pitchFamily="34" charset="0"/>
              </a:rPr>
              <a:t> &gt;-90dBm) above 95%.</a:t>
            </a:r>
          </a:p>
          <a:p>
            <a:pPr defTabSz="421558" fontAlgn="auto">
              <a:spcBef>
                <a:spcPts val="0"/>
              </a:spcBef>
              <a:spcAft>
                <a:spcPts val="0"/>
              </a:spcAft>
              <a:buFont typeface="Wingdings" pitchFamily="2" charset="2"/>
              <a:buChar char="Ø"/>
            </a:pPr>
            <a:r>
              <a:rPr lang="en-US" altLang="zh-CN" sz="1293" dirty="0" smtClean="0">
                <a:solidFill>
                  <a:srgbClr val="000000"/>
                </a:solidFill>
                <a:latin typeface="+mn-lt"/>
                <a:ea typeface="宋体"/>
                <a:cs typeface="Calibri" pitchFamily="34" charset="0"/>
              </a:rPr>
              <a:t>The </a:t>
            </a:r>
            <a:r>
              <a:rPr lang="en-US" altLang="zh-CN" sz="1293" dirty="0">
                <a:solidFill>
                  <a:srgbClr val="000000"/>
                </a:solidFill>
                <a:latin typeface="+mn-lt"/>
                <a:ea typeface="宋体"/>
                <a:cs typeface="Calibri" pitchFamily="34" charset="0"/>
              </a:rPr>
              <a:t>samples were a mixture of GSM900 and DCS1800 cells</a:t>
            </a:r>
          </a:p>
        </p:txBody>
      </p:sp>
      <p:sp>
        <p:nvSpPr>
          <p:cNvPr id="6" name="TextBox 5"/>
          <p:cNvSpPr txBox="1"/>
          <p:nvPr/>
        </p:nvSpPr>
        <p:spPr>
          <a:xfrm>
            <a:off x="6367525" y="4308068"/>
            <a:ext cx="2576973" cy="1261030"/>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General improvement in 3G coverage KPI (RSCP &gt;-95dBm) recorded after optimization</a:t>
            </a:r>
          </a:p>
          <a:p>
            <a:pPr defTabSz="421558" fontAlgn="auto">
              <a:lnSpc>
                <a:spcPct val="150000"/>
              </a:lnSpc>
              <a:spcBef>
                <a:spcPts val="0"/>
              </a:spcBef>
              <a:spcAft>
                <a:spcPts val="0"/>
              </a:spcAft>
            </a:pPr>
            <a:endParaRPr lang="en-US" altLang="zh-CN" sz="1293" dirty="0">
              <a:solidFill>
                <a:srgbClr val="000000"/>
              </a:solidFill>
              <a:ea typeface="宋体"/>
              <a:cs typeface="Calibri" pitchFamily="34" charset="0"/>
            </a:endParaRPr>
          </a:p>
        </p:txBody>
      </p:sp>
      <p:graphicFrame>
        <p:nvGraphicFramePr>
          <p:cNvPr id="10" name="图表 5"/>
          <p:cNvGraphicFramePr/>
          <p:nvPr>
            <p:extLst>
              <p:ext uri="{D42A27DB-BD31-4B8C-83A1-F6EECF244321}">
                <p14:modId xmlns:p14="http://schemas.microsoft.com/office/powerpoint/2010/main" val="2322425942"/>
              </p:ext>
            </p:extLst>
          </p:nvPr>
        </p:nvGraphicFramePr>
        <p:xfrm>
          <a:off x="212512" y="968467"/>
          <a:ext cx="5918580" cy="28595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5"/>
          <p:cNvGraphicFramePr/>
          <p:nvPr/>
        </p:nvGraphicFramePr>
        <p:xfrm>
          <a:off x="182942" y="3828005"/>
          <a:ext cx="5918580" cy="25935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2062221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7"/>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2G&amp;3G QUALITY</a:t>
            </a:r>
          </a:p>
        </p:txBody>
      </p:sp>
      <p:sp>
        <p:nvSpPr>
          <p:cNvPr id="5" name="TextBox 4"/>
          <p:cNvSpPr txBox="1"/>
          <p:nvPr/>
        </p:nvSpPr>
        <p:spPr>
          <a:xfrm>
            <a:off x="6168021" y="1664258"/>
            <a:ext cx="2975979" cy="1261030"/>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After the 2G Frequency </a:t>
            </a:r>
            <a:r>
              <a:rPr lang="en-US" altLang="zh-CN" sz="1293" dirty="0" err="1">
                <a:solidFill>
                  <a:srgbClr val="000000"/>
                </a:solidFill>
                <a:latin typeface="+mn-lt"/>
                <a:ea typeface="宋体"/>
                <a:cs typeface="Calibri" pitchFamily="34" charset="0"/>
              </a:rPr>
              <a:t>Replanning</a:t>
            </a:r>
            <a:r>
              <a:rPr lang="en-US" altLang="zh-CN" sz="1293" dirty="0">
                <a:solidFill>
                  <a:srgbClr val="000000"/>
                </a:solidFill>
                <a:latin typeface="+mn-lt"/>
                <a:ea typeface="宋体"/>
                <a:cs typeface="Calibri" pitchFamily="34" charset="0"/>
              </a:rPr>
              <a:t> project the 2G quality (</a:t>
            </a:r>
            <a:r>
              <a:rPr lang="en-US" altLang="zh-CN" sz="1293" dirty="0" err="1">
                <a:solidFill>
                  <a:srgbClr val="000000"/>
                </a:solidFill>
                <a:latin typeface="+mn-lt"/>
                <a:ea typeface="宋体"/>
                <a:cs typeface="Calibri" pitchFamily="34" charset="0"/>
              </a:rPr>
              <a:t>RxQual</a:t>
            </a:r>
            <a:r>
              <a:rPr lang="en-US" altLang="zh-CN" sz="1293" dirty="0">
                <a:solidFill>
                  <a:srgbClr val="000000"/>
                </a:solidFill>
                <a:latin typeface="+mn-lt"/>
                <a:ea typeface="宋体"/>
                <a:cs typeface="Calibri" pitchFamily="34" charset="0"/>
              </a:rPr>
              <a:t> &lt;=4) improved across all major towns</a:t>
            </a:r>
            <a:r>
              <a:rPr lang="en-US" altLang="zh-CN" sz="1293" dirty="0" smtClean="0">
                <a:solidFill>
                  <a:srgbClr val="000000"/>
                </a:solidFill>
                <a:latin typeface="+mn-lt"/>
                <a:ea typeface="宋体"/>
                <a:cs typeface="Calibri" pitchFamily="34" charset="0"/>
              </a:rPr>
              <a:t>.</a:t>
            </a:r>
            <a:endParaRPr lang="en-US" altLang="zh-CN" sz="1293" dirty="0">
              <a:solidFill>
                <a:srgbClr val="000000"/>
              </a:solidFill>
              <a:latin typeface="+mn-lt"/>
              <a:ea typeface="宋体"/>
              <a:cs typeface="Calibri" pitchFamily="34" charset="0"/>
            </a:endParaRPr>
          </a:p>
        </p:txBody>
      </p:sp>
      <p:sp>
        <p:nvSpPr>
          <p:cNvPr id="8" name="TextBox 7"/>
          <p:cNvSpPr txBox="1"/>
          <p:nvPr/>
        </p:nvSpPr>
        <p:spPr>
          <a:xfrm>
            <a:off x="6301024" y="4688646"/>
            <a:ext cx="2709975" cy="962551"/>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3G quality (</a:t>
            </a:r>
            <a:r>
              <a:rPr lang="en-US" altLang="zh-CN" sz="1293" dirty="0" err="1">
                <a:solidFill>
                  <a:srgbClr val="000000"/>
                </a:solidFill>
                <a:latin typeface="+mn-lt"/>
                <a:ea typeface="宋体"/>
                <a:cs typeface="Calibri" pitchFamily="34" charset="0"/>
              </a:rPr>
              <a:t>Ec</a:t>
            </a:r>
            <a:r>
              <a:rPr lang="en-US" altLang="zh-CN" sz="1293" dirty="0">
                <a:solidFill>
                  <a:srgbClr val="000000"/>
                </a:solidFill>
                <a:latin typeface="+mn-lt"/>
                <a:ea typeface="宋体"/>
                <a:cs typeface="Calibri" pitchFamily="34" charset="0"/>
              </a:rPr>
              <a:t>/Io &gt;-14dB was mostly improved in Kitwe, Lusaka, Chingola and Ndola</a:t>
            </a:r>
            <a:r>
              <a:rPr lang="en-US" altLang="zh-CN" sz="1293" dirty="0" smtClean="0">
                <a:solidFill>
                  <a:srgbClr val="000000"/>
                </a:solidFill>
                <a:latin typeface="+mn-lt"/>
                <a:ea typeface="宋体"/>
                <a:cs typeface="Calibri" pitchFamily="34" charset="0"/>
              </a:rPr>
              <a:t>.</a:t>
            </a:r>
            <a:endParaRPr lang="en-US" altLang="zh-CN" sz="1293" dirty="0">
              <a:solidFill>
                <a:srgbClr val="000000"/>
              </a:solidFill>
              <a:latin typeface="+mn-lt"/>
              <a:ea typeface="宋体"/>
              <a:cs typeface="Calibri" pitchFamily="34" charset="0"/>
            </a:endParaRPr>
          </a:p>
        </p:txBody>
      </p:sp>
      <p:graphicFrame>
        <p:nvGraphicFramePr>
          <p:cNvPr id="10" name="图表 5"/>
          <p:cNvGraphicFramePr/>
          <p:nvPr/>
        </p:nvGraphicFramePr>
        <p:xfrm>
          <a:off x="182941" y="835466"/>
          <a:ext cx="5852079" cy="28595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5"/>
          <p:cNvGraphicFramePr/>
          <p:nvPr/>
        </p:nvGraphicFramePr>
        <p:xfrm>
          <a:off x="182942" y="3761504"/>
          <a:ext cx="5852079" cy="26600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6526238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bwMode="auto">
          <a:xfrm>
            <a:off x="0" y="262248"/>
            <a:ext cx="9144000" cy="518996"/>
          </a:xfrm>
          <a:solidFill>
            <a:srgbClr val="FFC000"/>
          </a:solidFill>
          <a:extLst/>
        </p:spPr>
        <p:style>
          <a:lnRef idx="3">
            <a:schemeClr val="lt1"/>
          </a:lnRef>
          <a:fillRef idx="1">
            <a:schemeClr val="accent3"/>
          </a:fillRef>
          <a:effectRef idx="1">
            <a:schemeClr val="accent3"/>
          </a:effectRef>
          <a:fontRef idx="minor">
            <a:schemeClr val="lt1"/>
          </a:fontRef>
        </p:style>
        <p:txBody>
          <a:bodyPr vert="horz" wrap="square" lIns="84447" tIns="42223" rIns="84447" bIns="42223" numCol="1" anchor="ctr" anchorCtr="0" compatLnSpc="1">
            <a:prstTxWarp prst="textNoShape">
              <a:avLst/>
            </a:prstTxWarp>
          </a:bodyPr>
          <a:lstStyle/>
          <a:p>
            <a:r>
              <a:rPr lang="en-ZA" sz="2586" b="1" dirty="0">
                <a:solidFill>
                  <a:schemeClr val="tx1"/>
                </a:solidFill>
                <a:effectLst>
                  <a:outerShdw blurRad="38100" dist="38100" dir="2700000" algn="tl">
                    <a:srgbClr val="000000">
                      <a:alpha val="43137"/>
                    </a:srgbClr>
                  </a:outerShdw>
                </a:effectLst>
              </a:rPr>
              <a:t> </a:t>
            </a:r>
            <a:r>
              <a:rPr lang="en-ZA" sz="2586" b="1" dirty="0">
                <a:solidFill>
                  <a:schemeClr val="bg1"/>
                </a:solidFill>
                <a:effectLst>
                  <a:outerShdw blurRad="38100" dist="38100" dir="2700000" algn="tl">
                    <a:srgbClr val="000000">
                      <a:alpha val="43137"/>
                    </a:srgbClr>
                  </a:outerShdw>
                </a:effectLst>
              </a:rPr>
              <a:t>2G&amp;3G CSSR</a:t>
            </a:r>
          </a:p>
        </p:txBody>
      </p:sp>
      <p:sp>
        <p:nvSpPr>
          <p:cNvPr id="5" name="TextBox 4"/>
          <p:cNvSpPr txBox="1"/>
          <p:nvPr/>
        </p:nvSpPr>
        <p:spPr>
          <a:xfrm>
            <a:off x="6367524" y="1498792"/>
            <a:ext cx="2593535" cy="1559509"/>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The measured 2G CSSR was improved the most in Livingstone, Kitwe and </a:t>
            </a:r>
            <a:r>
              <a:rPr lang="en-US" altLang="zh-CN" sz="1293" dirty="0" err="1">
                <a:solidFill>
                  <a:srgbClr val="000000"/>
                </a:solidFill>
                <a:latin typeface="+mn-lt"/>
                <a:ea typeface="宋体"/>
                <a:cs typeface="Calibri" pitchFamily="34" charset="0"/>
              </a:rPr>
              <a:t>Solwezi</a:t>
            </a:r>
            <a:r>
              <a:rPr lang="en-US" altLang="zh-CN" sz="1293" dirty="0">
                <a:solidFill>
                  <a:srgbClr val="000000"/>
                </a:solidFill>
                <a:latin typeface="+mn-lt"/>
                <a:ea typeface="宋体"/>
                <a:cs typeface="Calibri" pitchFamily="34" charset="0"/>
              </a:rPr>
              <a:t>  after optimization of poor areas. </a:t>
            </a:r>
          </a:p>
        </p:txBody>
      </p:sp>
      <p:sp>
        <p:nvSpPr>
          <p:cNvPr id="6" name="TextBox 5"/>
          <p:cNvSpPr txBox="1"/>
          <p:nvPr/>
        </p:nvSpPr>
        <p:spPr>
          <a:xfrm>
            <a:off x="6301023" y="3827918"/>
            <a:ext cx="2660036" cy="1857988"/>
          </a:xfrm>
          <a:prstGeom prst="rect">
            <a:avLst/>
          </a:prstGeom>
          <a:noFill/>
        </p:spPr>
        <p:txBody>
          <a:bodyPr wrap="square" lIns="33232" tIns="33232" rIns="33232" bIns="33232" rtlCol="0" anchor="ctr" anchorCtr="0">
            <a:spAutoFit/>
          </a:bodyPr>
          <a:lstStyle/>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For 3G CSSR Kitwe, Lusaka, </a:t>
            </a:r>
            <a:r>
              <a:rPr lang="en-US" altLang="zh-CN" sz="1293" dirty="0" err="1">
                <a:solidFill>
                  <a:srgbClr val="000000"/>
                </a:solidFill>
                <a:latin typeface="+mn-lt"/>
                <a:ea typeface="宋体"/>
                <a:cs typeface="Calibri" pitchFamily="34" charset="0"/>
              </a:rPr>
              <a:t>Mufulira</a:t>
            </a:r>
            <a:r>
              <a:rPr lang="en-US" altLang="zh-CN" sz="1293" dirty="0">
                <a:solidFill>
                  <a:srgbClr val="000000"/>
                </a:solidFill>
                <a:latin typeface="+mn-lt"/>
                <a:ea typeface="宋体"/>
                <a:cs typeface="Calibri" pitchFamily="34" charset="0"/>
              </a:rPr>
              <a:t> and </a:t>
            </a:r>
            <a:r>
              <a:rPr lang="en-US" altLang="zh-CN" sz="1293" dirty="0" err="1">
                <a:solidFill>
                  <a:srgbClr val="000000"/>
                </a:solidFill>
                <a:latin typeface="+mn-lt"/>
                <a:ea typeface="宋体"/>
                <a:cs typeface="Calibri" pitchFamily="34" charset="0"/>
              </a:rPr>
              <a:t>Solwezi</a:t>
            </a:r>
            <a:r>
              <a:rPr lang="en-US" altLang="zh-CN" sz="1293" dirty="0">
                <a:solidFill>
                  <a:srgbClr val="000000"/>
                </a:solidFill>
                <a:latin typeface="+mn-lt"/>
                <a:ea typeface="宋体"/>
                <a:cs typeface="Calibri" pitchFamily="34" charset="0"/>
              </a:rPr>
              <a:t> had most improvement.</a:t>
            </a:r>
          </a:p>
          <a:p>
            <a:pPr defTabSz="421558" fontAlgn="auto">
              <a:lnSpc>
                <a:spcPct val="150000"/>
              </a:lnSpc>
              <a:spcBef>
                <a:spcPts val="0"/>
              </a:spcBef>
              <a:spcAft>
                <a:spcPts val="0"/>
              </a:spcAft>
              <a:buFont typeface="Wingdings" pitchFamily="2" charset="2"/>
              <a:buChar char="Ø"/>
            </a:pPr>
            <a:r>
              <a:rPr lang="en-US" altLang="zh-CN" sz="1293" dirty="0">
                <a:solidFill>
                  <a:srgbClr val="000000"/>
                </a:solidFill>
                <a:latin typeface="+mn-lt"/>
                <a:ea typeface="宋体"/>
                <a:cs typeface="Calibri" pitchFamily="34" charset="0"/>
              </a:rPr>
              <a:t>Notable improvement in the other towns was recorded after some optimization works. </a:t>
            </a:r>
          </a:p>
        </p:txBody>
      </p:sp>
      <p:graphicFrame>
        <p:nvGraphicFramePr>
          <p:cNvPr id="8" name="图表 5"/>
          <p:cNvGraphicFramePr/>
          <p:nvPr/>
        </p:nvGraphicFramePr>
        <p:xfrm>
          <a:off x="182942" y="835465"/>
          <a:ext cx="5852079" cy="28595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图表 5"/>
          <p:cNvGraphicFramePr/>
          <p:nvPr/>
        </p:nvGraphicFramePr>
        <p:xfrm>
          <a:off x="182942" y="3761505"/>
          <a:ext cx="5852079" cy="26600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0165183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TN Theme">
  <a:themeElements>
    <a:clrScheme name="MTN">
      <a:dk1>
        <a:srgbClr val="272727"/>
      </a:dk1>
      <a:lt1>
        <a:sysClr val="window" lastClr="FFFFFF"/>
      </a:lt1>
      <a:dk2>
        <a:srgbClr val="005883"/>
      </a:dk2>
      <a:lt2>
        <a:srgbClr val="FFD166"/>
      </a:lt2>
      <a:accent1>
        <a:srgbClr val="FFB300"/>
      </a:accent1>
      <a:accent2>
        <a:srgbClr val="272727"/>
      </a:accent2>
      <a:accent3>
        <a:srgbClr val="005883"/>
      </a:accent3>
      <a:accent4>
        <a:srgbClr val="FFD166"/>
      </a:accent4>
      <a:accent5>
        <a:srgbClr val="BB0000"/>
      </a:accent5>
      <a:accent6>
        <a:srgbClr val="B3B3B3"/>
      </a:accent6>
      <a:hlink>
        <a:srgbClr val="005883"/>
      </a:hlink>
      <a:folHlink>
        <a:srgbClr val="669BB5"/>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MTN Theme">
  <a:themeElements>
    <a:clrScheme name="MTN">
      <a:dk1>
        <a:srgbClr val="272727"/>
      </a:dk1>
      <a:lt1>
        <a:sysClr val="window" lastClr="FFFFFF"/>
      </a:lt1>
      <a:dk2>
        <a:srgbClr val="005883"/>
      </a:dk2>
      <a:lt2>
        <a:srgbClr val="FFD166"/>
      </a:lt2>
      <a:accent1>
        <a:srgbClr val="FFB300"/>
      </a:accent1>
      <a:accent2>
        <a:srgbClr val="272727"/>
      </a:accent2>
      <a:accent3>
        <a:srgbClr val="005883"/>
      </a:accent3>
      <a:accent4>
        <a:srgbClr val="FFD166"/>
      </a:accent4>
      <a:accent5>
        <a:srgbClr val="BB0000"/>
      </a:accent5>
      <a:accent6>
        <a:srgbClr val="B3B3B3"/>
      </a:accent6>
      <a:hlink>
        <a:srgbClr val="005883"/>
      </a:hlink>
      <a:folHlink>
        <a:srgbClr val="669BB5"/>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MTN CLASSIC THEME">
  <a:themeElements>
    <a:clrScheme name="MTN">
      <a:dk1>
        <a:srgbClr val="212120"/>
      </a:dk1>
      <a:lt1>
        <a:srgbClr val="FFFFFF"/>
      </a:lt1>
      <a:dk2>
        <a:srgbClr val="7B7B77"/>
      </a:dk2>
      <a:lt2>
        <a:srgbClr val="CDCDCD"/>
      </a:lt2>
      <a:accent1>
        <a:srgbClr val="006281"/>
      </a:accent1>
      <a:accent2>
        <a:srgbClr val="676767"/>
      </a:accent2>
      <a:accent3>
        <a:srgbClr val="FDC426"/>
      </a:accent3>
      <a:accent4>
        <a:srgbClr val="E5322C"/>
      </a:accent4>
      <a:accent5>
        <a:srgbClr val="0095C4"/>
      </a:accent5>
      <a:accent6>
        <a:srgbClr val="9F9F9F"/>
      </a:accent6>
      <a:hlink>
        <a:srgbClr val="1F497D"/>
      </a:hlink>
      <a:folHlink>
        <a:srgbClr val="0095C4"/>
      </a:folHlink>
    </a:clrScheme>
    <a:fontScheme name="Custom 4">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1F0CB225BCB3B43BBF518EAC6349114" ma:contentTypeVersion="1" ma:contentTypeDescription="Create a new document." ma:contentTypeScope="" ma:versionID="ddcbcc257c6bc73a33760c3314f23b40">
  <xsd:schema xmlns:xsd="http://www.w3.org/2001/XMLSchema" xmlns:xs="http://www.w3.org/2001/XMLSchema" xmlns:p="http://schemas.microsoft.com/office/2006/metadata/properties" xmlns:ns1="http://schemas.microsoft.com/sharepoint/v3" targetNamespace="http://schemas.microsoft.com/office/2006/metadata/properties" ma:root="true" ma:fieldsID="3d8b0b90613641d2007733df16481c6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61DD0AC3-2C29-480F-AD85-6DAA019DABEF}"/>
</file>

<file path=customXml/itemProps2.xml><?xml version="1.0" encoding="utf-8"?>
<ds:datastoreItem xmlns:ds="http://schemas.openxmlformats.org/officeDocument/2006/customXml" ds:itemID="{7B9BE74C-78DD-4B02-BA84-1DC0B4901CBD}"/>
</file>

<file path=customXml/itemProps3.xml><?xml version="1.0" encoding="utf-8"?>
<ds:datastoreItem xmlns:ds="http://schemas.openxmlformats.org/officeDocument/2006/customXml" ds:itemID="{30146EA9-E39F-4A64-918A-49163C328F2C}"/>
</file>

<file path=docProps/app.xml><?xml version="1.0" encoding="utf-8"?>
<Properties xmlns="http://schemas.openxmlformats.org/officeDocument/2006/extended-properties" xmlns:vt="http://schemas.openxmlformats.org/officeDocument/2006/docPropsVTypes">
  <TotalTime>91973</TotalTime>
  <Words>1123</Words>
  <Application>Microsoft Office PowerPoint</Application>
  <PresentationFormat>On-screen Show (4:3)</PresentationFormat>
  <Paragraphs>134</Paragraphs>
  <Slides>19</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19</vt:i4>
      </vt:variant>
    </vt:vector>
  </HeadingPairs>
  <TitlesOfParts>
    <vt:vector size="33" baseType="lpstr">
      <vt:lpstr>Arial Unicode MS</vt:lpstr>
      <vt:lpstr>微软雅黑</vt:lpstr>
      <vt:lpstr>宋体</vt:lpstr>
      <vt:lpstr>Arial</vt:lpstr>
      <vt:lpstr>Calibri</vt:lpstr>
      <vt:lpstr>Courier New</vt:lpstr>
      <vt:lpstr>Verdana</vt:lpstr>
      <vt:lpstr>Wingdings</vt:lpstr>
      <vt:lpstr>Custom Design</vt:lpstr>
      <vt:lpstr>MTN Theme</vt:lpstr>
      <vt:lpstr>1_MTN Theme</vt:lpstr>
      <vt:lpstr>5_MTN CLASSIC THEME</vt:lpstr>
      <vt:lpstr>think-cell Slide</vt:lpstr>
      <vt:lpstr>Worksheet</vt:lpstr>
      <vt:lpstr>MTN ZAMBIA NETWORK PERFORMANCE QOS  Presentation  </vt:lpstr>
      <vt:lpstr>PowerPoint Presentation</vt:lpstr>
      <vt:lpstr>PowerPoint Presentation</vt:lpstr>
      <vt:lpstr>PowerPoint Presentation</vt:lpstr>
      <vt:lpstr>IHS-MTN Network Availability per Day</vt:lpstr>
      <vt:lpstr>PowerPoint Presentation</vt:lpstr>
      <vt:lpstr> 2G&amp;3G COVERAGE</vt:lpstr>
      <vt:lpstr> 2G&amp;3G QUALITY</vt:lpstr>
      <vt:lpstr> 2G&amp;3G CSSR</vt:lpstr>
      <vt:lpstr> 2G&amp;3G HANDOVER SUCCESS RATE</vt:lpstr>
      <vt:lpstr> 2G CALL DROP &amp; 3G THROUGHPUT</vt:lpstr>
      <vt:lpstr> 2G CALL DROP &amp; 3G THROUGHPUT</vt:lpstr>
      <vt:lpstr> Lusaka DT Quality – GSM</vt:lpstr>
      <vt:lpstr>Lusaka City – 3G Quality (Ec/Io)</vt:lpstr>
      <vt:lpstr>Lusaka City – 3G Coverage (RSCP)</vt:lpstr>
      <vt:lpstr>Lusaka City – HSDPA Throughput</vt:lpstr>
      <vt:lpstr>Ndola DT Coverage Plots – GSM</vt:lpstr>
      <vt:lpstr>PowerPoint Presentation</vt:lpstr>
      <vt:lpstr>THANKYOU</vt:lpstr>
    </vt:vector>
  </TitlesOfParts>
  <Company>MTN Zambi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uawei MS Team</dc:creator>
  <cp:lastModifiedBy>Aloran, Rakan</cp:lastModifiedBy>
  <cp:revision>9943</cp:revision>
  <dcterms:created xsi:type="dcterms:W3CDTF">2009-04-26T12:28:15Z</dcterms:created>
  <dcterms:modified xsi:type="dcterms:W3CDTF">2016-03-17T10:3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4)GDyGWnH1Ao5JuZW3iPwXX9x5Oszj76RZNAuP8BRYpRDqiGfp+qqjlNkEQz6SblA/V3UY4yro_x000d_
n8iJnRJOrJVp22EDQSHMjaB2eGTpCZQgq2g6JPuU+sY+e17uC1XVb8HQWpmO+p3i4JyeOAlE_x000d_
mx4ZvCc9CNNXra/IZoblVxvcP5yPMYVRyTjYhq9/Xgm094qL09Z4SgTaaPl+d3r+6TZnUoDZ_x000d_
lfX15czI8jEiMUDEZW</vt:lpwstr>
  </property>
  <property fmtid="{D5CDD505-2E9C-101B-9397-08002B2CF9AE}" pid="3" name="_ms_pID_7253431">
    <vt:lpwstr>IkDjgcjAhUTIyvQ4tZdJeVSq1MLoG7jQaMkszUXCRJeTGXLqlhmjgi_x000d_
82NxP3+mPb2vsHXR8DQedS60g9DxqgKJtNC0VmzMQJWL0IzNshw9Gl2mZDDKLg0CB28dd/v3_x000d_
vtof+O20uCA4u8UxmmTTVYQiqSPWaiB38XEgwkvuDmplQEKz9FTcXlR6rlCTwhFRvk1MwTZA_x000d_
KwOX4OfFPSLjhSyxwfwFs4Vn94Nd/YchZuFc</vt:lpwstr>
  </property>
  <property fmtid="{D5CDD505-2E9C-101B-9397-08002B2CF9AE}" pid="4" name="_ms_pID_7253432">
    <vt:lpwstr>YyQqUTGQ9K14u9p+FO51TllcB7Gj922R4m8X_x000d_
rZlLJvZqqqHqn0HbUFXBb3O1/LAWqquMdDlkynp4MtdFrmFZQnhHFqUtg274LKC/WuSB7S3y_x000d_
V1EoS+LLTjdfI6tehSx3L1i26bb8xNIUcdapm2vI75EUibXNiKUIamc9sKh8tDmSueCUxRPV_x000d_
Q1qjI5NirGEI9Get6TnJJh5xVA6uVHMkv6Gbbcfeb3czkEyHkcokY8</vt:lpwstr>
  </property>
  <property fmtid="{D5CDD505-2E9C-101B-9397-08002B2CF9AE}" pid="5" name="_ms_pID_7253433">
    <vt:lpwstr>cOKw3ms/+MAsR4a+Ml_x000d_
wz3c+v2YhKG163jTy7Di1cqAlDliYViZMLmH3sK0pO5dS7WSmZdQN0dY56OwKEmWIOmW6QGs_x000d_
i3gdP+XpbUIMdzxBmsDcjeIYHF8+LS7X+EUzXAn3hgyVvmCrW7Uh7eYzwgPWaKankXjmlyqQ_x000d_
F36ubQH3xRaMBHjXhKIFZFRF2YZod3NG9oC4MJdf3Ln4OTEumng3IQ==</vt:lpwstr>
  </property>
  <property fmtid="{D5CDD505-2E9C-101B-9397-08002B2CF9AE}" pid="6" name="_ms_pID_725343_00">
    <vt:lpwstr>_ms_pID_725343</vt:lpwstr>
  </property>
  <property fmtid="{D5CDD505-2E9C-101B-9397-08002B2CF9AE}" pid="7" name="_ms_pID_7253431_00">
    <vt:lpwstr>_ms_pID_7253431</vt:lpwstr>
  </property>
  <property fmtid="{D5CDD505-2E9C-101B-9397-08002B2CF9AE}" pid="8" name="_ms_pID_7253432_00">
    <vt:lpwstr>_ms_pID_7253432</vt:lpwstr>
  </property>
  <property fmtid="{D5CDD505-2E9C-101B-9397-08002B2CF9AE}" pid="9" name="_ms_pID_7253433_00">
    <vt:lpwstr>_ms_pID_7253433</vt:lpwstr>
  </property>
  <property fmtid="{D5CDD505-2E9C-101B-9397-08002B2CF9AE}" pid="10" name="_ms_pID_7253434">
    <vt:lpwstr>_x000d_ ekZF2NhDyP3qlj/b7kcTKG/Hfz6W1N8T9KTHOH4oeoqqWKpCUyjakDK7/qt2XP6dwn8n1PA0_x000d_ lxd71jnVtAzpe84WLHyjxkNxgNos7PF4EIQObQ2WI7rT4VaD3xxlRtrUobE6Ayq3kObkOQWY_x000d_ hGk0DUcDjRwpo8zrzGWeY4mRLjjnh9jteC1bUOMDQvviFsTmbOU+b/Kz53kx23Xr68kQxB2X_x000d_ 2fQuyQ8f2VQVDJoh</vt:lpwstr>
  </property>
  <property fmtid="{D5CDD505-2E9C-101B-9397-08002B2CF9AE}" pid="11" name="_ms_pID_7253434_00">
    <vt:lpwstr>_ms_pID_7253434</vt:lpwstr>
  </property>
  <property fmtid="{D5CDD505-2E9C-101B-9397-08002B2CF9AE}" pid="12" name="_ms_pID_7253435">
    <vt:lpwstr>4pkK2ZujeGryBV32mr6Hji9631sWE6Ohz9GYZV5UsLztnqFKFXDDLiiA_x000d_ ZL7uVYGu61zaHyMR6Ysk81lHZWuHRZgVjGe7maZ4a7rTnvafRuPncrAVyFZXJww3swU5+B2s_x000d_ 6QvwKpfARejujfmy1nhjIQmClI6lcz7N38KV97VnpVwybHZkXSkFklSnx5uXI7IA19LUft86_x000d_ SPrsPjaDFyDPiAnVmy5txGH5TUHUX9+8zc</vt:lpwstr>
  </property>
  <property fmtid="{D5CDD505-2E9C-101B-9397-08002B2CF9AE}" pid="13" name="_ms_pID_7253435_00">
    <vt:lpwstr>_ms_pID_7253435</vt:lpwstr>
  </property>
  <property fmtid="{D5CDD505-2E9C-101B-9397-08002B2CF9AE}" pid="14" name="_ms_pID_7253436">
    <vt:lpwstr>Pp7MwJgiUbt2K8BX+CZ3169gTEhto/SoYBc0JZ_x000d_ ufNytbcWYMdOKykDgx181ofBmoJDzZniP8QDNzVatA1hgC/kyNzp4dU1CwpJFKW5dD8vxm8F_x000d_ CtcOgi8NuOreMfmIIqxgP/XKvKpiRpzPwlB3s3Pnjh8ObINcr3ynezRnWW3yVm/utvkVnj9o_x000d_ sDt8KyT0kNmjNcQ2P0ByU0WI3VVbaXWFFkF7dO3BdhLkZxgbE6wH</vt:lpwstr>
  </property>
  <property fmtid="{D5CDD505-2E9C-101B-9397-08002B2CF9AE}" pid="15" name="_ms_pID_7253436_00">
    <vt:lpwstr>_ms_pID_7253436</vt:lpwstr>
  </property>
  <property fmtid="{D5CDD505-2E9C-101B-9397-08002B2CF9AE}" pid="16" name="_ms_pID_7253437">
    <vt:lpwstr>4y/jwrscjtRj1qAt6Gcw_x000d_ GPLDHdhF/dLESQMNloP2JC5hL5/nwnxy1GNuhyHWKx2jTmRGbajjog0RvdStQckUR2A+4aZw_x000d_ /zWua0p4Nu8TccAztVCVb2SIF3NXn+Z8arP6Q3PRIhKx+OpztPrAwqhsxI0VWuGt1wU91FjZ_x000d_ uL8lXsrpcGbvpQf17DRSLhNYutU3/swzxOZklxAd53uqN5IWotfXQXoWqTk3qLor2d+PhH</vt:lpwstr>
  </property>
  <property fmtid="{D5CDD505-2E9C-101B-9397-08002B2CF9AE}" pid="17" name="_ms_pID_7253437_00">
    <vt:lpwstr>_ms_pID_7253437</vt:lpwstr>
  </property>
  <property fmtid="{D5CDD505-2E9C-101B-9397-08002B2CF9AE}" pid="18" name="_ms_pID_7253438">
    <vt:lpwstr>4b_x000d_ JJjNyQpVN93NOIboScdhlzon8ije3cHtsxYSZKZlPRrhBY8a/dHNAlxWUVQ2aVIued8GYUa8_x000d_ bzAtyZnljyJyKGoLvobLku70XFionDe3KKFZqvJPzv0THXLOLA0SZUIVLa6l7penGhpQKbDS_x000d_ ihY3LCUxXWPkQOk6R3HJV4mBSr0SgP/RS2bN4VCCK18KN6R1XxOM9mcdEnJZJEUUrH/DWPD7_x000d_ ArQ8Fir4vMdWdR</vt:lpwstr>
  </property>
  <property fmtid="{D5CDD505-2E9C-101B-9397-08002B2CF9AE}" pid="19" name="_ms_pID_7253438_00">
    <vt:lpwstr>_ms_pID_7253438</vt:lpwstr>
  </property>
  <property fmtid="{D5CDD505-2E9C-101B-9397-08002B2CF9AE}" pid="20" name="_ms_pID_7253439">
    <vt:lpwstr>EU5/3SWC48s9VWYK0SdKrzWnLcIvlD+gIxjB1grDfOgU30xpIorrlfwgN6_x000d_ /CufJAsLxJalMP7kQ9LgFXX3JJxjcvSMegpi0jpznmpY1oO5FnGXoQjXPW92N1TjESufvdcE_x000d_ D1GJmCcU9f1U+pG6qc43UzVFrYm6oAgzUYnNpeCQXeaOuAViT2klN16+JSSKoEtmdnZ/eUdv_x000d_ C7nTX8yrL9Y50p/TE+uKbmkE7yYUukGu</vt:lpwstr>
  </property>
  <property fmtid="{D5CDD505-2E9C-101B-9397-08002B2CF9AE}" pid="21" name="_ms_pID_7253439_00">
    <vt:lpwstr>_ms_pID_7253439</vt:lpwstr>
  </property>
  <property fmtid="{D5CDD505-2E9C-101B-9397-08002B2CF9AE}" pid="22" name="_ms_pID_72534310">
    <vt:lpwstr>H12K14eZHvbwjPWcFTXPBaH8omeA7ZGBclqT8Y6c_x000d_ 2pDHH9s7ehDGgMAM+q9KvElILSzZb0OD4gQXcS1Mx5oSa5oRhxq3Bl42pIPnHahtHTARdRJk_x000d_ Fwg5ZP/2wTSuCk0pV/xfDJYQNisxThhRJtV8OSXhTo6lNYbm9DzGpsaI1wNhsqAZ7YSSUvFg_x000d_ Qu000GnOBt0HNkCzTdN1OGJ4wdKrIrkOjU3bdueEdiCQk64cxv</vt:lpwstr>
  </property>
  <property fmtid="{D5CDD505-2E9C-101B-9397-08002B2CF9AE}" pid="23" name="_ms_pID_72534310_00">
    <vt:lpwstr>_ms_pID_72534310</vt:lpwstr>
  </property>
  <property fmtid="{D5CDD505-2E9C-101B-9397-08002B2CF9AE}" pid="24" name="_ms_pID_72534311">
    <vt:lpwstr>infxkfaE8dn6CHYVnz+9Wj_x000d_ 4KQ4t+S8/rK+dXYevmQVZNye1cxuLmKuKf5BrK5a16113maMl7Fczerbh58h03oKIiIcJW93_x000d_ cksUfzK8jl1CyJY1CRWBY0K9SmZww4WabMSwqKV1OlPLnQwt/9t1Qao811jm5C7wgS12AE1k_x000d_ Nusp+3hcy+/iwjI5LxdCbDaWKWc/68qXVdrVY8WEVj27sutY1ZCekrDLMBMa/eh4Z4DE</vt:lpwstr>
  </property>
  <property fmtid="{D5CDD505-2E9C-101B-9397-08002B2CF9AE}" pid="25" name="_ms_pID_72534311_00">
    <vt:lpwstr>_ms_pID_72534311</vt:lpwstr>
  </property>
  <property fmtid="{D5CDD505-2E9C-101B-9397-08002B2CF9AE}" pid="26" name="_ms_pID_72534312">
    <vt:lpwstr>Gy2A_x000d_ 1OwOGHKvhzg9NB9RV0VEKvy/CRMd32AXh0vOPGnuclR8q40UKrfcTrSHNrm8z9bnnuuk3HOS_x000d_ 1nlRNaFFBgDe5IYGSiZRROTZMf3CQqJnciRJ2I3YfrNV+2uCz4vG6j0Y8EwuKcu6</vt:lpwstr>
  </property>
  <property fmtid="{D5CDD505-2E9C-101B-9397-08002B2CF9AE}" pid="27" name="_ms_pID_72534312_00">
    <vt:lpwstr>_ms_pID_72534312</vt:lpwstr>
  </property>
  <property fmtid="{D5CDD505-2E9C-101B-9397-08002B2CF9AE}" pid="28" name="_ms_pID_72534313">
    <vt:lpwstr>LaOISivDSgNyQRyFOfJtb2dmK+A8NoWdX+P9zU9DM/fN4Vnhq4uppCN+Yx0=</vt:lpwstr>
  </property>
  <property fmtid="{D5CDD505-2E9C-101B-9397-08002B2CF9AE}" pid="29" name="_ms_pID_72534313_00">
    <vt:lpwstr>_ms_pID_72534313</vt:lpwstr>
  </property>
  <property fmtid="{D5CDD505-2E9C-101B-9397-08002B2CF9AE}" pid="30" name="_ms_pID_72534314">
    <vt:lpwstr>k2lApIZS9NI=</vt:lpwstr>
  </property>
  <property fmtid="{D5CDD505-2E9C-101B-9397-08002B2CF9AE}" pid="31" name="_ms_pID_72534314_00">
    <vt:lpwstr>_ms_pID_72534314</vt:lpwstr>
  </property>
  <property fmtid="{D5CDD505-2E9C-101B-9397-08002B2CF9AE}" pid="32" name="_new_ms_pID_72543">
    <vt:lpwstr>(3)1du592z8a6qrm4Do6vcO1k4hE6399zvsytJkweF2GgL2dR2Vb5ja23IgSwJfix43mehHKrR/
HLS8GW5YNXMpm5j6kjG2MpsRbdEdLh5RV6U7VEwAZRl0qcCndhWDl1yREQjjVLc/MOTg0Vjw
uus9SxWykXC+qQbVYnbZVZW9d04NmEhm6p+qKEarvkwBBNAPqmQ+loGriu8o8vxD6mxcqxRz
Glzn2mzk0aWvcULdGI</vt:lpwstr>
  </property>
  <property fmtid="{D5CDD505-2E9C-101B-9397-08002B2CF9AE}" pid="33" name="_new_ms_pID_725431">
    <vt:lpwstr>dsOXvZ8FsfHClGUfgHjrToIiDXb2ccQuJppB3/jWjKZTm2Acz6PYv0
yp32JgFaJ0H3TigIzz2S/TF8aRZhgAX2x+U0/WzLz8c8Uk1YfvX0ELY0MHJZfx17u8mPDO1m
1WkPTKHWhet4A1W3uQ8iQyWmA+c+RbKwsNoIUISgs5t75ulEWqdmMmT1vpLHL50hlsxBo0JY
MucSIT9nASLEYXsPaEelQLSgUEXU4Dpdg9Vk</vt:lpwstr>
  </property>
  <property fmtid="{D5CDD505-2E9C-101B-9397-08002B2CF9AE}" pid="34" name="_new_ms_pID_725432">
    <vt:lpwstr>DfyFq89ZbNK3R14YG99uxrKvGaFEB89zNsxu
QJ1thG3EV8lNqDXwDuGQ6C1B2eo/HaAXZWmqfXkimSo7Wcrv4GiF2EWroIXj1+oKjibJmFy7
nJ2qUP4gdnZjX37Y2matbY75XSWAs1D4aDFbOqMyOK0Y1CWw3PuFrT2wnoHqEzwV</vt:lpwstr>
  </property>
  <property fmtid="{D5CDD505-2E9C-101B-9397-08002B2CF9AE}" pid="35" name="_new_ms_pID_725433">
    <vt:lpwstr>Vv</vt:lpwstr>
  </property>
  <property fmtid="{D5CDD505-2E9C-101B-9397-08002B2CF9AE}" pid="36" name="_readonly">
    <vt:lpwstr/>
  </property>
  <property fmtid="{D5CDD505-2E9C-101B-9397-08002B2CF9AE}" pid="37" name="_change">
    <vt:lpwstr/>
  </property>
  <property fmtid="{D5CDD505-2E9C-101B-9397-08002B2CF9AE}" pid="38" name="_full-control">
    <vt:lpwstr/>
  </property>
  <property fmtid="{D5CDD505-2E9C-101B-9397-08002B2CF9AE}" pid="39" name="sflag">
    <vt:lpwstr>1453905108</vt:lpwstr>
  </property>
  <property fmtid="{D5CDD505-2E9C-101B-9397-08002B2CF9AE}" pid="40" name="ContentTypeId">
    <vt:lpwstr>0x01010051F0CB225BCB3B43BBF518EAC6349114</vt:lpwstr>
  </property>
</Properties>
</file>